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56.xml" ContentType="application/vnd.openxmlformats-officedocument.presentationml.slide+xml"/>
  <Override PartName="/ppt/tags/tag540.xml" ContentType="application/vnd.openxmlformats-officedocument.presentationml.tags+xml"/>
  <Override PartName="/ppt/notesSlides/notesSlide15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535.xml" ContentType="application/vnd.openxmlformats-officedocument.presentationml.tags+xml"/>
  <Override PartName="/ppt/tags/tag539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34.xml" ContentType="application/vnd.openxmlformats-officedocument.presentationml.tags+xml"/>
  <Override PartName="/ppt/tags/tag538.xml" ContentType="application/vnd.openxmlformats-officedocument.presentationml.tags+xml"/>
  <Override PartName="/ppt/tags/tag543.xml" ContentType="application/vnd.openxmlformats-officedocument.presentationml.tags+xml"/>
  <Override PartName="/ppt/tags/tag537.xml" ContentType="application/vnd.openxmlformats-officedocument.presentationml.tags+xml"/>
  <Override PartName="/ppt/tags/tag542.xml" ContentType="application/vnd.openxmlformats-officedocument.presentationml.tags+xml"/>
  <Override PartName="/ppt/tags/tag536.xml" ContentType="application/vnd.openxmlformats-officedocument.presentationml.tags+xml"/>
  <Override PartName="/ppt/tags/tag541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60" r:id="rId15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56.xml" Id="rId159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6.xml.rels>&#65279;<?xml version="1.0" encoding="utf-8"?><Relationships xmlns="http://schemas.openxmlformats.org/package/2006/relationships"><Relationship Type="http://schemas.openxmlformats.org/officeDocument/2006/relationships/slide" Target="/ppt/slides/slide156.xml" Id="rId2" /><Relationship Type="http://schemas.openxmlformats.org/officeDocument/2006/relationships/notesMaster" Target="/ppt/notesMasters/notesMaster1.xml" Id="rId1" /></Relationships>
</file>

<file path=ppt/notesSlides/notesSlide1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22632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6.xml.rels>&#65279;<?xml version="1.0" encoding="utf-8"?><Relationships xmlns="http://schemas.openxmlformats.org/package/2006/relationships"><Relationship Type="http://schemas.openxmlformats.org/officeDocument/2006/relationships/tags" Target="/ppt/tags/tag540.xml" Id="rId8" /><Relationship Type="http://schemas.openxmlformats.org/officeDocument/2006/relationships/notesSlide" Target="/ppt/notesSlides/notesSlide156.xml" Id="rId13" /><Relationship Type="http://schemas.openxmlformats.org/officeDocument/2006/relationships/tags" Target="/ppt/tags/tag535.xml" Id="rId3" /><Relationship Type="http://schemas.openxmlformats.org/officeDocument/2006/relationships/tags" Target="/ppt/tags/tag539.xml" Id="rId7" /><Relationship Type="http://schemas.openxmlformats.org/officeDocument/2006/relationships/slideLayout" Target="/ppt/slideLayouts/slideLayout5.xml" Id="rId12" /><Relationship Type="http://schemas.openxmlformats.org/officeDocument/2006/relationships/tags" Target="/ppt/tags/tag534.xml" Id="rId2" /><Relationship Type="http://schemas.openxmlformats.org/officeDocument/2006/relationships/vmlDrawing" Target="/ppt/drawings/vmlDrawing160.vml" Id="rId1" /><Relationship Type="http://schemas.openxmlformats.org/officeDocument/2006/relationships/tags" Target="/ppt/tags/tag538.xml" Id="rId6" /><Relationship Type="http://schemas.openxmlformats.org/officeDocument/2006/relationships/tags" Target="/ppt/tags/tag543.xml" Id="rId11" /><Relationship Type="http://schemas.openxmlformats.org/officeDocument/2006/relationships/tags" Target="/ppt/tags/tag537.xml" Id="rId5" /><Relationship Type="http://schemas.openxmlformats.org/officeDocument/2006/relationships/image" Target="/ppt/media/image4.emf" Id="rId15" /><Relationship Type="http://schemas.openxmlformats.org/officeDocument/2006/relationships/tags" Target="/ppt/tags/tag542.xml" Id="rId10" /><Relationship Type="http://schemas.openxmlformats.org/officeDocument/2006/relationships/tags" Target="/ppt/tags/tag536.xml" Id="rId4" /><Relationship Type="http://schemas.openxmlformats.org/officeDocument/2006/relationships/tags" Target="/ppt/tags/tag541.xml" Id="rId9" /><Relationship Type="http://schemas.openxmlformats.org/officeDocument/2006/relationships/oleObject" Target="/ppt/embeddings/oleObject160.bin" Id="rId14" /></Relationships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924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9" name="think-cell 幻灯片" r:id="rId14" imgW="349" imgH="350" progId="TCLayout.ActiveDocument.1">
                  <p:embed/>
                </p:oleObj>
              </mc:Choice>
              <mc:Fallback>
                <p:oleObj name="think-cell 幻灯片" r:id="rId1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hases/processes</a:t>
            </a:r>
          </a:p>
        </p:txBody>
      </p:sp>
      <p:sp>
        <p:nvSpPr>
          <p:cNvPr id="2" name="Pfeil: Fünfeck 4">
            <a:extLst>
              <a:ext uri="{FF2B5EF4-FFF2-40B4-BE49-F238E27FC236}">
                <a16:creationId xmlns:a16="http://schemas.microsoft.com/office/drawing/2014/main" id="{546436E4-AA83-91E8-A277-8AFA961166B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419101" y="1575307"/>
            <a:ext cx="2313913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lvl="0">
              <a:tabLst>
                <a:tab pos="1798638" algn="r"/>
              </a:tabLst>
            </a:pPr>
            <a:r>
              <a:rPr lang="en-US">
                <a:solidFill>
                  <a:schemeClr val="tx2"/>
                </a:solidFill>
              </a:rPr>
              <a:t>Phase 	</a:t>
            </a:r>
            <a:r>
              <a:rPr lang="en-US" b="1">
                <a:solidFill>
                  <a:schemeClr val="accent1"/>
                </a:solidFill>
              </a:rPr>
              <a:t>01.</a:t>
            </a:r>
          </a:p>
        </p:txBody>
      </p:sp>
      <p:sp>
        <p:nvSpPr>
          <p:cNvPr id="3" name="Pfeil: Chevron 5">
            <a:extLst>
              <a:ext uri="{FF2B5EF4-FFF2-40B4-BE49-F238E27FC236}">
                <a16:creationId xmlns:a16="http://schemas.microsoft.com/office/drawing/2014/main" id="{9E4A56CD-CB47-0017-E711-D2A402606B6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2688432" y="1575307"/>
            <a:ext cx="2313913" cy="769318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tabLst>
                <a:tab pos="1706563" algn="r"/>
              </a:tabLst>
            </a:pPr>
            <a:r>
              <a:rPr lang="en-US">
                <a:solidFill>
                  <a:schemeClr val="tx2"/>
                </a:solidFill>
              </a:rPr>
              <a:t>Phase	</a:t>
            </a:r>
            <a:r>
              <a:rPr lang="en-US" b="1">
                <a:solidFill>
                  <a:schemeClr val="accent1"/>
                </a:solidFill>
              </a:rPr>
              <a:t>02.</a:t>
            </a:r>
          </a:p>
        </p:txBody>
      </p:sp>
      <p:sp>
        <p:nvSpPr>
          <p:cNvPr id="4" name="Pfeil: Chevron 6">
            <a:extLst>
              <a:ext uri="{FF2B5EF4-FFF2-40B4-BE49-F238E27FC236}">
                <a16:creationId xmlns:a16="http://schemas.microsoft.com/office/drawing/2014/main" id="{2CABC924-5BC8-7069-7392-B318959CBD4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4957763" y="1575307"/>
            <a:ext cx="2313913" cy="769318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tabLst>
                <a:tab pos="1706563" algn="r"/>
              </a:tabLst>
            </a:pPr>
            <a:r>
              <a:rPr lang="en-US">
                <a:solidFill>
                  <a:schemeClr val="tx2"/>
                </a:solidFill>
              </a:rPr>
              <a:t>Phase	 </a:t>
            </a:r>
            <a:r>
              <a:rPr lang="en-US" b="1">
                <a:solidFill>
                  <a:schemeClr val="accent1"/>
                </a:solidFill>
              </a:rPr>
              <a:t>03.</a:t>
            </a:r>
          </a:p>
        </p:txBody>
      </p:sp>
      <p:sp>
        <p:nvSpPr>
          <p:cNvPr id="6" name="Pfeil: Chevron 7">
            <a:extLst>
              <a:ext uri="{FF2B5EF4-FFF2-40B4-BE49-F238E27FC236}">
                <a16:creationId xmlns:a16="http://schemas.microsoft.com/office/drawing/2014/main" id="{E32B8F9E-4B37-2A16-0191-4C1FCAF2699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7227094" y="1575307"/>
            <a:ext cx="2313913" cy="769318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tabLst>
                <a:tab pos="1706563" algn="r"/>
              </a:tabLst>
            </a:pPr>
            <a:r>
              <a:rPr lang="en-US">
                <a:solidFill>
                  <a:schemeClr val="tx2"/>
                </a:solidFill>
              </a:rPr>
              <a:t>Phase 	</a:t>
            </a:r>
            <a:r>
              <a:rPr lang="en-US" b="1">
                <a:solidFill>
                  <a:schemeClr val="accent1"/>
                </a:solidFill>
              </a:rPr>
              <a:t>04.</a:t>
            </a:r>
          </a:p>
        </p:txBody>
      </p:sp>
      <p:sp>
        <p:nvSpPr>
          <p:cNvPr id="7" name="Pfeil: Chevron 8">
            <a:extLst>
              <a:ext uri="{FF2B5EF4-FFF2-40B4-BE49-F238E27FC236}">
                <a16:creationId xmlns:a16="http://schemas.microsoft.com/office/drawing/2014/main" id="{37D4593E-B9DD-CE86-2D4C-4FC63DBA30E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9496425" y="1575305"/>
            <a:ext cx="2313913" cy="769320"/>
          </a:xfrm>
          <a:prstGeom prst="chevron">
            <a:avLst>
              <a:gd name="adj" fmla="val 2492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2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tabLst>
                <a:tab pos="1706563" algn="r"/>
              </a:tabLst>
            </a:pPr>
            <a:r>
              <a:rPr lang="en-US">
                <a:solidFill>
                  <a:schemeClr val="bg1"/>
                </a:solidFill>
              </a:rPr>
              <a:t>Phase 	</a:t>
            </a:r>
            <a:r>
              <a:rPr lang="en-US" b="1">
                <a:solidFill>
                  <a:schemeClr val="bg1"/>
                </a:solidFill>
              </a:rPr>
              <a:t>05.</a:t>
            </a:r>
          </a:p>
        </p:txBody>
      </p:sp>
      <p:grpSp>
        <p:nvGrpSpPr>
          <p:cNvPr id="9" name="Gruppieren 70">
            <a:extLst>
              <a:ext uri="{FF2B5EF4-FFF2-40B4-BE49-F238E27FC236}">
                <a16:creationId xmlns:a16="http://schemas.microsoft.com/office/drawing/2014/main" id="{E69AB799-B437-3570-9D55-8BFE89318207}"/>
              </a:ext>
            </a:extLst>
          </p:cNvPr>
          <p:cNvGrpSpPr>
            <a:grpSpLocks/>
          </p:cNvGrpSpPr>
          <p:nvPr/>
        </p:nvGrpSpPr>
        <p:grpSpPr>
          <a:xfrm>
            <a:off x="6065513" y="2529095"/>
            <a:ext cx="5744825" cy="3444325"/>
            <a:chOff x="351175" y="2529095"/>
            <a:chExt cx="5744825" cy="3444325"/>
          </a:xfrm>
        </p:grpSpPr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C0FAD35F-C55C-E09F-6B03-3995C0D13697}"/>
                </a:ext>
              </a:extLst>
            </p:cNvPr>
            <p:cNvSpPr>
              <a:spLocks/>
            </p:cNvSpPr>
            <p:nvPr/>
          </p:nvSpPr>
          <p:spPr>
            <a:xfrm>
              <a:off x="2269197" y="3704801"/>
              <a:ext cx="1977629" cy="1092912"/>
            </a:xfrm>
            <a:prstGeom prst="chevron">
              <a:avLst>
                <a:gd name="adj" fmla="val 24929"/>
              </a:avLst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1">
                  <a:solidFill>
                    <a:schemeClr val="accent1"/>
                  </a:solidFill>
                </a:rPr>
                <a:t>02.</a:t>
              </a: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5A93AFFE-70B8-5ED0-2DDD-C90F2927F665}"/>
                </a:ext>
              </a:extLst>
            </p:cNvPr>
            <p:cNvSpPr>
              <a:spLocks/>
            </p:cNvSpPr>
            <p:nvPr/>
          </p:nvSpPr>
          <p:spPr>
            <a:xfrm>
              <a:off x="4118371" y="3704801"/>
              <a:ext cx="1977629" cy="1092912"/>
            </a:xfrm>
            <a:prstGeom prst="chevron">
              <a:avLst>
                <a:gd name="adj" fmla="val 24929"/>
              </a:avLst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108000" rIns="144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3600" b="1">
                  <a:solidFill>
                    <a:schemeClr val="accent1"/>
                  </a:solidFill>
                </a:rPr>
                <a:t>03.</a:t>
              </a: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34FD269-07A7-E9FA-0737-D72CAC9B1EE8}"/>
                </a:ext>
              </a:extLst>
            </p:cNvPr>
            <p:cNvSpPr>
              <a:spLocks/>
            </p:cNvSpPr>
            <p:nvPr/>
          </p:nvSpPr>
          <p:spPr>
            <a:xfrm>
              <a:off x="420021" y="3704801"/>
              <a:ext cx="1977629" cy="1092912"/>
            </a:xfrm>
            <a:prstGeom prst="chevron">
              <a:avLst>
                <a:gd name="adj" fmla="val 24929"/>
              </a:avLst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1">
                  <a:solidFill>
                    <a:schemeClr val="accent1"/>
                  </a:solidFill>
                </a:rPr>
                <a:t>01.</a:t>
              </a:r>
            </a:p>
          </p:txBody>
        </p:sp>
        <p:sp>
          <p:nvSpPr>
            <p:cNvPr id="14" name="TextBox 14">
              <a:extLst>
                <a:ext uri="{FF2B5EF4-FFF2-40B4-BE49-F238E27FC236}">
                  <a16:creationId xmlns:a16="http://schemas.microsoft.com/office/drawing/2014/main" id="{09181889-2D7C-A871-D984-3308D078608D}"/>
                </a:ext>
              </a:extLst>
            </p:cNvPr>
            <p:cNvSpPr txBox="1">
              <a:spLocks/>
            </p:cNvSpPr>
            <p:nvPr/>
          </p:nvSpPr>
          <p:spPr>
            <a:xfrm>
              <a:off x="351175" y="5265534"/>
              <a:ext cx="1823620" cy="7078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800">
                  <a:solidFill>
                    <a:schemeClr val="tx2"/>
                  </a:solidFill>
                  <a:latin typeface="+mn-lt"/>
                  <a:cs typeface="+mn-cs"/>
                </a:rPr>
                <a:t>Lorem ipsum </a:t>
              </a:r>
              <a:br>
                <a:rPr lang="en-US" sz="1800">
                  <a:solidFill>
                    <a:schemeClr val="tx2"/>
                  </a:solidFill>
                  <a:latin typeface="+mn-lt"/>
                  <a:cs typeface="+mn-cs"/>
                </a:rPr>
              </a:b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dolor sit </a:t>
              </a:r>
              <a:r>
                <a:rPr lang="en-US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r>
                <a:rPr lang="en-US" err="1">
                  <a:solidFill>
                    <a:schemeClr val="tx1"/>
                  </a:solidFill>
                  <a:latin typeface="+mn-lt"/>
                  <a:cs typeface="+mn-cs"/>
                </a:rPr>
                <a:t>consetetur</a:t>
              </a: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err="1">
                  <a:solidFill>
                    <a:schemeClr val="tx1"/>
                  </a:solidFill>
                  <a:latin typeface="+mn-lt"/>
                  <a:cs typeface="+mn-cs"/>
                </a:rPr>
                <a:t>sadipscing</a:t>
              </a:r>
              <a:endParaRPr lang="en-US" sz="120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EA4F28D-F182-7082-CF90-4A2D3C888B19}"/>
                </a:ext>
              </a:extLst>
            </p:cNvPr>
            <p:cNvSpPr txBox="1">
              <a:spLocks/>
            </p:cNvSpPr>
            <p:nvPr/>
          </p:nvSpPr>
          <p:spPr>
            <a:xfrm>
              <a:off x="2200350" y="2529095"/>
              <a:ext cx="1823620" cy="707886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800">
                  <a:solidFill>
                    <a:schemeClr val="tx2"/>
                  </a:solidFill>
                  <a:latin typeface="+mn-lt"/>
                  <a:cs typeface="+mn-cs"/>
                </a:rPr>
                <a:t>Lorem ipsum </a:t>
              </a:r>
              <a:br>
                <a:rPr lang="en-US" sz="1800">
                  <a:solidFill>
                    <a:schemeClr val="tx2"/>
                  </a:solidFill>
                  <a:latin typeface="+mn-lt"/>
                  <a:cs typeface="+mn-cs"/>
                </a:rPr>
              </a:b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dolor sit </a:t>
              </a:r>
              <a:r>
                <a:rPr lang="en-US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r>
                <a:rPr lang="en-US" err="1">
                  <a:solidFill>
                    <a:schemeClr val="tx1"/>
                  </a:solidFill>
                  <a:latin typeface="+mn-lt"/>
                  <a:cs typeface="+mn-cs"/>
                </a:rPr>
                <a:t>consetetur</a:t>
              </a: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err="1">
                  <a:solidFill>
                    <a:schemeClr val="tx1"/>
                  </a:solidFill>
                  <a:latin typeface="+mn-lt"/>
                  <a:cs typeface="+mn-cs"/>
                </a:rPr>
                <a:t>sadipscing</a:t>
              </a:r>
              <a:endParaRPr lang="en-US" sz="120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6" name="TextBox 14">
              <a:extLst>
                <a:ext uri="{FF2B5EF4-FFF2-40B4-BE49-F238E27FC236}">
                  <a16:creationId xmlns:a16="http://schemas.microsoft.com/office/drawing/2014/main" id="{E6B3CCAC-48B7-2542-1C80-71CADFC3D2C6}"/>
                </a:ext>
              </a:extLst>
            </p:cNvPr>
            <p:cNvSpPr txBox="1">
              <a:spLocks/>
            </p:cNvSpPr>
            <p:nvPr/>
          </p:nvSpPr>
          <p:spPr>
            <a:xfrm>
              <a:off x="4049525" y="5265534"/>
              <a:ext cx="1823620" cy="70788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800">
                  <a:solidFill>
                    <a:schemeClr val="tx2"/>
                  </a:solidFill>
                  <a:latin typeface="+mn-lt"/>
                  <a:cs typeface="+mn-cs"/>
                </a:rPr>
                <a:t>Lorem ipsum </a:t>
              </a:r>
              <a:br>
                <a:rPr lang="en-US" sz="1800">
                  <a:solidFill>
                    <a:schemeClr val="tx2"/>
                  </a:solidFill>
                  <a:latin typeface="+mn-lt"/>
                  <a:cs typeface="+mn-cs"/>
                </a:rPr>
              </a:b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dolor sit </a:t>
              </a:r>
              <a:r>
                <a:rPr lang="en-US" err="1">
                  <a:solidFill>
                    <a:schemeClr val="tx1"/>
                  </a:solidFill>
                  <a:latin typeface="+mn-lt"/>
                  <a:cs typeface="+mn-cs"/>
                </a:rPr>
                <a:t>amet</a:t>
              </a: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, </a:t>
              </a:r>
              <a:r>
                <a:rPr lang="en-US" err="1">
                  <a:solidFill>
                    <a:schemeClr val="tx1"/>
                  </a:solidFill>
                  <a:latin typeface="+mn-lt"/>
                  <a:cs typeface="+mn-cs"/>
                </a:rPr>
                <a:t>consetetur</a:t>
              </a: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 </a:t>
              </a:r>
              <a:r>
                <a:rPr lang="en-US" err="1">
                  <a:solidFill>
                    <a:schemeClr val="tx1"/>
                  </a:solidFill>
                  <a:latin typeface="+mn-lt"/>
                  <a:cs typeface="+mn-cs"/>
                </a:rPr>
                <a:t>sadipscing</a:t>
              </a:r>
              <a:endParaRPr lang="en-US" sz="120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cxnSp>
          <p:nvCxnSpPr>
            <p:cNvPr id="17" name="Gerader Verbinder 28">
              <a:extLst>
                <a:ext uri="{FF2B5EF4-FFF2-40B4-BE49-F238E27FC236}">
                  <a16:creationId xmlns:a16="http://schemas.microsoft.com/office/drawing/2014/main" id="{67913742-F8E7-31EF-A843-249F0EE4FF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2159" y="3334049"/>
              <a:ext cx="0" cy="273684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29">
              <a:extLst>
                <a:ext uri="{FF2B5EF4-FFF2-40B4-BE49-F238E27FC236}">
                  <a16:creationId xmlns:a16="http://schemas.microsoft.com/office/drawing/2014/main" id="{A3D76EFC-E26F-A7E7-3220-0893F4B38B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62984" y="4894781"/>
              <a:ext cx="0" cy="273684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30">
              <a:extLst>
                <a:ext uri="{FF2B5EF4-FFF2-40B4-BE49-F238E27FC236}">
                  <a16:creationId xmlns:a16="http://schemas.microsoft.com/office/drawing/2014/main" id="{E5D993DA-BD08-FBED-B23D-95968320E8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61334" y="4894781"/>
              <a:ext cx="0" cy="273684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Ellipse 43">
            <a:extLst>
              <a:ext uri="{FF2B5EF4-FFF2-40B4-BE49-F238E27FC236}">
                <a16:creationId xmlns:a16="http://schemas.microsoft.com/office/drawing/2014/main" id="{A7F687BA-74CC-0C72-EA3B-38E196099EE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 rot="16200000">
            <a:off x="2696777" y="3633435"/>
            <a:ext cx="538359" cy="538300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  <a:gd name="connsiteX0" fmla="*/ -1 w 1080089"/>
              <a:gd name="connsiteY0" fmla="*/ 0 h 1079971"/>
              <a:gd name="connsiteX1" fmla="*/ 1080089 w 1080089"/>
              <a:gd name="connsiteY1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0089" h="1079971">
                <a:moveTo>
                  <a:pt x="-1" y="0"/>
                </a:moveTo>
                <a:cubicBezTo>
                  <a:pt x="596516" y="0"/>
                  <a:pt x="1080089" y="483519"/>
                  <a:pt x="1080089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999"/>
          </a:p>
        </p:txBody>
      </p:sp>
      <p:sp>
        <p:nvSpPr>
          <p:cNvPr id="21" name="Ellipse 43">
            <a:extLst>
              <a:ext uri="{FF2B5EF4-FFF2-40B4-BE49-F238E27FC236}">
                <a16:creationId xmlns:a16="http://schemas.microsoft.com/office/drawing/2014/main" id="{388F31E4-48CB-00D1-5C8B-DA91601F4D6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 rot="5400000">
            <a:off x="3234898" y="3094861"/>
            <a:ext cx="538360" cy="538300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  <a:gd name="connsiteX0" fmla="*/ -1 w 1080089"/>
              <a:gd name="connsiteY0" fmla="*/ 0 h 1079971"/>
              <a:gd name="connsiteX1" fmla="*/ 1080089 w 1080089"/>
              <a:gd name="connsiteY1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0089" h="1079971">
                <a:moveTo>
                  <a:pt x="-1" y="0"/>
                </a:moveTo>
                <a:cubicBezTo>
                  <a:pt x="596516" y="0"/>
                  <a:pt x="1080089" y="483519"/>
                  <a:pt x="1080089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2" name="Ellipse 43">
            <a:extLst>
              <a:ext uri="{FF2B5EF4-FFF2-40B4-BE49-F238E27FC236}">
                <a16:creationId xmlns:a16="http://schemas.microsoft.com/office/drawing/2014/main" id="{72E8B29D-2A89-7EE1-9940-E2A2817CA01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 rot="5400000">
            <a:off x="2158298" y="4167651"/>
            <a:ext cx="538360" cy="538300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  <a:gd name="connsiteX0" fmla="*/ -1 w 1080089"/>
              <a:gd name="connsiteY0" fmla="*/ 0 h 1079971"/>
              <a:gd name="connsiteX1" fmla="*/ 1080089 w 1080089"/>
              <a:gd name="connsiteY1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0089" h="1079971">
                <a:moveTo>
                  <a:pt x="-1" y="0"/>
                </a:moveTo>
                <a:cubicBezTo>
                  <a:pt x="596516" y="0"/>
                  <a:pt x="1080089" y="483519"/>
                  <a:pt x="1080089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3" name="Ellipse 43">
            <a:extLst>
              <a:ext uri="{FF2B5EF4-FFF2-40B4-BE49-F238E27FC236}">
                <a16:creationId xmlns:a16="http://schemas.microsoft.com/office/drawing/2014/main" id="{D981C843-1761-45E1-A716-EBADB49CA0C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 rot="16200000">
            <a:off x="1620176" y="4706226"/>
            <a:ext cx="538359" cy="538300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  <a:gd name="connsiteX0" fmla="*/ -1 w 1080089"/>
              <a:gd name="connsiteY0" fmla="*/ 0 h 1079971"/>
              <a:gd name="connsiteX1" fmla="*/ 1080089 w 1080089"/>
              <a:gd name="connsiteY1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0089" h="1079971">
                <a:moveTo>
                  <a:pt x="-1" y="0"/>
                </a:moveTo>
                <a:cubicBezTo>
                  <a:pt x="596516" y="0"/>
                  <a:pt x="1080089" y="483519"/>
                  <a:pt x="1080089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999"/>
          </a:p>
        </p:txBody>
      </p:sp>
      <p:grpSp>
        <p:nvGrpSpPr>
          <p:cNvPr id="24" name="Gruppieren 35">
            <a:extLst>
              <a:ext uri="{FF2B5EF4-FFF2-40B4-BE49-F238E27FC236}">
                <a16:creationId xmlns:a16="http://schemas.microsoft.com/office/drawing/2014/main" id="{C7C748E9-0B5D-2B14-52D4-D55B6A568521}"/>
              </a:ext>
            </a:extLst>
          </p:cNvPr>
          <p:cNvGrpSpPr>
            <a:grpSpLocks/>
          </p:cNvGrpSpPr>
          <p:nvPr/>
        </p:nvGrpSpPr>
        <p:grpSpPr>
          <a:xfrm>
            <a:off x="2696628" y="3633405"/>
            <a:ext cx="1076779" cy="1076719"/>
            <a:chOff x="8920994" y="3521645"/>
            <a:chExt cx="1076779" cy="1076719"/>
          </a:xfrm>
        </p:grpSpPr>
        <p:grpSp>
          <p:nvGrpSpPr>
            <p:cNvPr id="25" name="Gruppieren 36">
              <a:extLst>
                <a:ext uri="{FF2B5EF4-FFF2-40B4-BE49-F238E27FC236}">
                  <a16:creationId xmlns:a16="http://schemas.microsoft.com/office/drawing/2014/main" id="{3B43B245-EC40-CBBF-3653-8F06BB403135}"/>
                </a:ext>
              </a:extLst>
            </p:cNvPr>
            <p:cNvGrpSpPr>
              <a:grpSpLocks/>
            </p:cNvGrpSpPr>
            <p:nvPr/>
          </p:nvGrpSpPr>
          <p:grpSpPr bwMode="gray">
            <a:xfrm rot="16200000" flipH="1">
              <a:off x="8921113" y="3521705"/>
              <a:ext cx="1076719" cy="1076600"/>
              <a:chOff x="4118900" y="2294565"/>
              <a:chExt cx="1980165" cy="1979946"/>
            </a:xfrm>
          </p:grpSpPr>
          <p:sp>
            <p:nvSpPr>
              <p:cNvPr id="27" name="Ellipse 43">
                <a:extLst>
                  <a:ext uri="{FF2B5EF4-FFF2-40B4-BE49-F238E27FC236}">
                    <a16:creationId xmlns:a16="http://schemas.microsoft.com/office/drawing/2014/main" id="{C243C488-13A8-224E-4AEF-205DA4D4DF2B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 flipV="1">
                <a:off x="4118900" y="3284538"/>
                <a:ext cx="1980165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0180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  <a:cubicBezTo>
                      <a:pt x="1676607" y="0"/>
                      <a:pt x="2160180" y="483519"/>
                      <a:pt x="2160180" y="1079971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1600" b="1">
                  <a:solidFill>
                    <a:schemeClr val="tx2"/>
                  </a:solidFill>
                </a:endParaRPr>
              </a:p>
            </p:txBody>
          </p:sp>
          <p:sp>
            <p:nvSpPr>
              <p:cNvPr id="28" name="Ellipse 43">
                <a:extLst>
                  <a:ext uri="{FF2B5EF4-FFF2-40B4-BE49-F238E27FC236}">
                    <a16:creationId xmlns:a16="http://schemas.microsoft.com/office/drawing/2014/main" id="{43F3BC37-D128-25AA-4C25-2B4B0DA932CA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5108982" y="2294565"/>
                <a:ext cx="990083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0 w 1080091"/>
                  <a:gd name="connsiteY0" fmla="*/ 1079971 h 1079971"/>
                  <a:gd name="connsiteX1" fmla="*/ 1080090 w 1080091"/>
                  <a:gd name="connsiteY1" fmla="*/ 0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91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</a:path>
                </a:pathLst>
              </a:custGeom>
              <a:noFill/>
              <a:ln w="76200" cap="sq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1600" b="1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6" name="Textfeld 37">
              <a:extLst>
                <a:ext uri="{FF2B5EF4-FFF2-40B4-BE49-F238E27FC236}">
                  <a16:creationId xmlns:a16="http://schemas.microsoft.com/office/drawing/2014/main" id="{D3C4DDA3-238B-05F7-E7D6-80B1A12DC96E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8920994" y="3938574"/>
              <a:ext cx="107671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solidFill>
                    <a:schemeClr val="tx2"/>
                  </a:solidFill>
                </a:rPr>
                <a:t>03</a:t>
              </a:r>
            </a:p>
          </p:txBody>
        </p:sp>
      </p:grpSp>
      <p:grpSp>
        <p:nvGrpSpPr>
          <p:cNvPr id="29" name="Gruppieren 40">
            <a:extLst>
              <a:ext uri="{FF2B5EF4-FFF2-40B4-BE49-F238E27FC236}">
                <a16:creationId xmlns:a16="http://schemas.microsoft.com/office/drawing/2014/main" id="{538BCABA-2E7E-47F4-EA9A-9A4F637E3A60}"/>
              </a:ext>
            </a:extLst>
          </p:cNvPr>
          <p:cNvGrpSpPr>
            <a:grpSpLocks/>
          </p:cNvGrpSpPr>
          <p:nvPr/>
        </p:nvGrpSpPr>
        <p:grpSpPr bwMode="gray">
          <a:xfrm rot="5400000" flipH="1">
            <a:off x="2696658" y="2556444"/>
            <a:ext cx="1076719" cy="1076777"/>
            <a:chOff x="1601140" y="2276781"/>
            <a:chExt cx="1672921" cy="1673011"/>
          </a:xfrm>
        </p:grpSpPr>
        <p:grpSp>
          <p:nvGrpSpPr>
            <p:cNvPr id="30" name="Gruppieren 41">
              <a:extLst>
                <a:ext uri="{FF2B5EF4-FFF2-40B4-BE49-F238E27FC236}">
                  <a16:creationId xmlns:a16="http://schemas.microsoft.com/office/drawing/2014/main" id="{EC4C925D-7069-B403-7490-45650D44CD4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601140" y="2277056"/>
              <a:ext cx="1672921" cy="1672736"/>
              <a:chOff x="4118900" y="2294565"/>
              <a:chExt cx="1980165" cy="1979946"/>
            </a:xfrm>
          </p:grpSpPr>
          <p:sp>
            <p:nvSpPr>
              <p:cNvPr id="32" name="Ellipse 43">
                <a:extLst>
                  <a:ext uri="{FF2B5EF4-FFF2-40B4-BE49-F238E27FC236}">
                    <a16:creationId xmlns:a16="http://schemas.microsoft.com/office/drawing/2014/main" id="{571EFDB0-D9DA-15DD-B9CB-A7D2F7A11A2A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 flipV="1">
                <a:off x="4118900" y="3284538"/>
                <a:ext cx="1980165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0180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  <a:cubicBezTo>
                      <a:pt x="1676607" y="0"/>
                      <a:pt x="2160180" y="483519"/>
                      <a:pt x="2160180" y="1079971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1600" b="1">
                  <a:solidFill>
                    <a:schemeClr val="tx2"/>
                  </a:solidFill>
                </a:endParaRPr>
              </a:p>
            </p:txBody>
          </p:sp>
          <p:sp>
            <p:nvSpPr>
              <p:cNvPr id="33" name="Ellipse 43">
                <a:extLst>
                  <a:ext uri="{FF2B5EF4-FFF2-40B4-BE49-F238E27FC236}">
                    <a16:creationId xmlns:a16="http://schemas.microsoft.com/office/drawing/2014/main" id="{5AE8C155-01B3-2620-537C-512B7C2E23D7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5108982" y="2294565"/>
                <a:ext cx="990083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0 w 1080091"/>
                  <a:gd name="connsiteY0" fmla="*/ 1079971 h 1079971"/>
                  <a:gd name="connsiteX1" fmla="*/ 1080090 w 1080091"/>
                  <a:gd name="connsiteY1" fmla="*/ 0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91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</a:path>
                </a:pathLst>
              </a:custGeom>
              <a:noFill/>
              <a:ln w="76200" cap="sq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1600" b="1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1" name="Textfeld 42">
              <a:extLst>
                <a:ext uri="{FF2B5EF4-FFF2-40B4-BE49-F238E27FC236}">
                  <a16:creationId xmlns:a16="http://schemas.microsoft.com/office/drawing/2014/main" id="{60DAAE98-6675-5DF7-4449-ACE382981E7B}"/>
                </a:ext>
              </a:extLst>
            </p:cNvPr>
            <p:cNvSpPr txBox="1">
              <a:spLocks/>
            </p:cNvSpPr>
            <p:nvPr/>
          </p:nvSpPr>
          <p:spPr bwMode="gray">
            <a:xfrm rot="5400000">
              <a:off x="1603751" y="2921961"/>
              <a:ext cx="1672919" cy="3825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solidFill>
                    <a:schemeClr val="tx2"/>
                  </a:solidFill>
                </a:rPr>
                <a:t>04</a:t>
              </a:r>
            </a:p>
          </p:txBody>
        </p:sp>
      </p:grpSp>
      <p:grpSp>
        <p:nvGrpSpPr>
          <p:cNvPr id="34" name="Gruppieren 45">
            <a:extLst>
              <a:ext uri="{FF2B5EF4-FFF2-40B4-BE49-F238E27FC236}">
                <a16:creationId xmlns:a16="http://schemas.microsoft.com/office/drawing/2014/main" id="{811E0295-364B-40DB-DAFD-37DCD222E95E}"/>
              </a:ext>
            </a:extLst>
          </p:cNvPr>
          <p:cNvGrpSpPr>
            <a:grpSpLocks/>
          </p:cNvGrpSpPr>
          <p:nvPr/>
        </p:nvGrpSpPr>
        <p:grpSpPr bwMode="gray">
          <a:xfrm rot="5400000" flipH="1">
            <a:off x="1620057" y="3629235"/>
            <a:ext cx="1076719" cy="1076777"/>
            <a:chOff x="1601140" y="2276781"/>
            <a:chExt cx="1672921" cy="1673011"/>
          </a:xfrm>
        </p:grpSpPr>
        <p:grpSp>
          <p:nvGrpSpPr>
            <p:cNvPr id="35" name="Gruppieren 46">
              <a:extLst>
                <a:ext uri="{FF2B5EF4-FFF2-40B4-BE49-F238E27FC236}">
                  <a16:creationId xmlns:a16="http://schemas.microsoft.com/office/drawing/2014/main" id="{ABA920B2-0804-ADB7-1949-11DDA1736D7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601140" y="2277056"/>
              <a:ext cx="1672921" cy="1672736"/>
              <a:chOff x="4118900" y="2294565"/>
              <a:chExt cx="1980165" cy="1979946"/>
            </a:xfrm>
          </p:grpSpPr>
          <p:sp>
            <p:nvSpPr>
              <p:cNvPr id="37" name="Ellipse 43">
                <a:extLst>
                  <a:ext uri="{FF2B5EF4-FFF2-40B4-BE49-F238E27FC236}">
                    <a16:creationId xmlns:a16="http://schemas.microsoft.com/office/drawing/2014/main" id="{63ACE3F4-33A2-F825-494A-EFD3DB845172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 flipV="1">
                <a:off x="4118900" y="3284538"/>
                <a:ext cx="1980165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0180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  <a:cubicBezTo>
                      <a:pt x="1676607" y="0"/>
                      <a:pt x="2160180" y="483519"/>
                      <a:pt x="2160180" y="1079971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accent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1600" b="1">
                  <a:solidFill>
                    <a:schemeClr val="tx2"/>
                  </a:solidFill>
                </a:endParaRPr>
              </a:p>
            </p:txBody>
          </p:sp>
          <p:sp>
            <p:nvSpPr>
              <p:cNvPr id="38" name="Ellipse 43">
                <a:extLst>
                  <a:ext uri="{FF2B5EF4-FFF2-40B4-BE49-F238E27FC236}">
                    <a16:creationId xmlns:a16="http://schemas.microsoft.com/office/drawing/2014/main" id="{D9CD6702-5B35-8C7F-B8F1-B34D2EB056EB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5108982" y="2294565"/>
                <a:ext cx="990083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0 w 1080091"/>
                  <a:gd name="connsiteY0" fmla="*/ 1079971 h 1079971"/>
                  <a:gd name="connsiteX1" fmla="*/ 1080090 w 1080091"/>
                  <a:gd name="connsiteY1" fmla="*/ 0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91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</a:path>
                </a:pathLst>
              </a:custGeom>
              <a:noFill/>
              <a:ln w="76200" cap="sq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1600" b="1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6" name="Textfeld 47">
              <a:extLst>
                <a:ext uri="{FF2B5EF4-FFF2-40B4-BE49-F238E27FC236}">
                  <a16:creationId xmlns:a16="http://schemas.microsoft.com/office/drawing/2014/main" id="{7AA62860-A93C-18E1-70A3-4E3A6EEAAF46}"/>
                </a:ext>
              </a:extLst>
            </p:cNvPr>
            <p:cNvSpPr txBox="1">
              <a:spLocks/>
            </p:cNvSpPr>
            <p:nvPr/>
          </p:nvSpPr>
          <p:spPr bwMode="gray">
            <a:xfrm rot="5400000">
              <a:off x="1603751" y="2921961"/>
              <a:ext cx="1672919" cy="3825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solidFill>
                    <a:schemeClr val="tx2"/>
                  </a:solidFill>
                </a:rPr>
                <a:t>02</a:t>
              </a:r>
            </a:p>
          </p:txBody>
        </p:sp>
      </p:grpSp>
      <p:grpSp>
        <p:nvGrpSpPr>
          <p:cNvPr id="39" name="Gruppieren 50">
            <a:extLst>
              <a:ext uri="{FF2B5EF4-FFF2-40B4-BE49-F238E27FC236}">
                <a16:creationId xmlns:a16="http://schemas.microsoft.com/office/drawing/2014/main" id="{C1B762D3-6157-F157-2A6C-668D4DFE7402}"/>
              </a:ext>
            </a:extLst>
          </p:cNvPr>
          <p:cNvGrpSpPr>
            <a:grpSpLocks/>
          </p:cNvGrpSpPr>
          <p:nvPr/>
        </p:nvGrpSpPr>
        <p:grpSpPr bwMode="gray">
          <a:xfrm flipH="1" flipV="1">
            <a:off x="3773050" y="3118950"/>
            <a:ext cx="646887" cy="159869"/>
            <a:chOff x="9102726" y="944561"/>
            <a:chExt cx="1311824" cy="324199"/>
          </a:xfrm>
        </p:grpSpPr>
        <p:sp>
          <p:nvSpPr>
            <p:cNvPr id="40" name="Teilkreis 30">
              <a:extLst>
                <a:ext uri="{FF2B5EF4-FFF2-40B4-BE49-F238E27FC236}">
                  <a16:creationId xmlns:a16="http://schemas.microsoft.com/office/drawing/2014/main" id="{D85DD544-8A59-1B15-AE40-06D75B5DEE6C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10090351" y="944561"/>
              <a:ext cx="324199" cy="324199"/>
            </a:xfrm>
            <a:custGeom>
              <a:avLst/>
              <a:gdLst>
                <a:gd name="connsiteX0" fmla="*/ 0 w 1008112"/>
                <a:gd name="connsiteY0" fmla="*/ 504056 h 1008112"/>
                <a:gd name="connsiteX1" fmla="*/ 504056 w 1008112"/>
                <a:gd name="connsiteY1" fmla="*/ 0 h 1008112"/>
                <a:gd name="connsiteX2" fmla="*/ 504056 w 1008112"/>
                <a:gd name="connsiteY2" fmla="*/ 504056 h 1008112"/>
                <a:gd name="connsiteX3" fmla="*/ 0 w 1008112"/>
                <a:gd name="connsiteY3" fmla="*/ 504056 h 1008112"/>
                <a:gd name="connsiteX0" fmla="*/ 504056 w 595496"/>
                <a:gd name="connsiteY0" fmla="*/ 504056 h 595496"/>
                <a:gd name="connsiteX1" fmla="*/ 0 w 595496"/>
                <a:gd name="connsiteY1" fmla="*/ 504056 h 595496"/>
                <a:gd name="connsiteX2" fmla="*/ 504056 w 595496"/>
                <a:gd name="connsiteY2" fmla="*/ 0 h 595496"/>
                <a:gd name="connsiteX3" fmla="*/ 595496 w 595496"/>
                <a:gd name="connsiteY3" fmla="*/ 595496 h 59549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504056 w 504056"/>
                <a:gd name="connsiteY2" fmla="*/ 0 h 50405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504056 w 504056"/>
                <a:gd name="connsiteY2" fmla="*/ 0 h 504056"/>
                <a:gd name="connsiteX0" fmla="*/ 0 w 504056"/>
                <a:gd name="connsiteY0" fmla="*/ 504056 h 504056"/>
                <a:gd name="connsiteX1" fmla="*/ 504056 w 504056"/>
                <a:gd name="connsiteY1" fmla="*/ 0 h 50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056" h="504056">
                  <a:moveTo>
                    <a:pt x="0" y="504056"/>
                  </a:moveTo>
                  <a:cubicBezTo>
                    <a:pt x="0" y="225674"/>
                    <a:pt x="225674" y="0"/>
                    <a:pt x="504056" y="0"/>
                  </a:cubicBezTo>
                </a:path>
              </a:pathLst>
            </a:custGeom>
            <a:noFill/>
            <a:ln w="76200" cap="sq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US" sz="1799"/>
            </a:p>
          </p:txBody>
        </p:sp>
        <p:cxnSp>
          <p:nvCxnSpPr>
            <p:cNvPr id="41" name="Gerader Verbinder 52">
              <a:extLst>
                <a:ext uri="{FF2B5EF4-FFF2-40B4-BE49-F238E27FC236}">
                  <a16:creationId xmlns:a16="http://schemas.microsoft.com/office/drawing/2014/main" id="{44D99028-6EC3-FE8D-4D3D-C76AB41DF7DF}"/>
                </a:ext>
              </a:extLst>
            </p:cNvPr>
            <p:cNvCxnSpPr>
              <a:cxnSpLocks/>
              <a:stCxn id="40" idx="0"/>
            </p:cNvCxnSpPr>
            <p:nvPr/>
          </p:nvCxnSpPr>
          <p:spPr bwMode="gray">
            <a:xfrm flipH="1" flipV="1">
              <a:off x="9102726" y="944561"/>
              <a:ext cx="987624" cy="0"/>
            </a:xfrm>
            <a:prstGeom prst="line">
              <a:avLst/>
            </a:prstGeom>
            <a:ln w="762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53">
            <a:extLst>
              <a:ext uri="{FF2B5EF4-FFF2-40B4-BE49-F238E27FC236}">
                <a16:creationId xmlns:a16="http://schemas.microsoft.com/office/drawing/2014/main" id="{98F8CF85-75A0-6611-86DC-243D508A2BFA}"/>
              </a:ext>
            </a:extLst>
          </p:cNvPr>
          <p:cNvGrpSpPr>
            <a:grpSpLocks/>
          </p:cNvGrpSpPr>
          <p:nvPr/>
        </p:nvGrpSpPr>
        <p:grpSpPr bwMode="gray">
          <a:xfrm rot="10800000" flipH="1" flipV="1">
            <a:off x="973321" y="5046444"/>
            <a:ext cx="646886" cy="159869"/>
            <a:chOff x="9102728" y="944561"/>
            <a:chExt cx="1311822" cy="324199"/>
          </a:xfrm>
        </p:grpSpPr>
        <p:sp>
          <p:nvSpPr>
            <p:cNvPr id="43" name="Teilkreis 30">
              <a:extLst>
                <a:ext uri="{FF2B5EF4-FFF2-40B4-BE49-F238E27FC236}">
                  <a16:creationId xmlns:a16="http://schemas.microsoft.com/office/drawing/2014/main" id="{246BC041-3A8E-EDD4-0829-1FB2C2C7D701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10090351" y="944561"/>
              <a:ext cx="324199" cy="324199"/>
            </a:xfrm>
            <a:custGeom>
              <a:avLst/>
              <a:gdLst>
                <a:gd name="connsiteX0" fmla="*/ 0 w 1008112"/>
                <a:gd name="connsiteY0" fmla="*/ 504056 h 1008112"/>
                <a:gd name="connsiteX1" fmla="*/ 504056 w 1008112"/>
                <a:gd name="connsiteY1" fmla="*/ 0 h 1008112"/>
                <a:gd name="connsiteX2" fmla="*/ 504056 w 1008112"/>
                <a:gd name="connsiteY2" fmla="*/ 504056 h 1008112"/>
                <a:gd name="connsiteX3" fmla="*/ 0 w 1008112"/>
                <a:gd name="connsiteY3" fmla="*/ 504056 h 1008112"/>
                <a:gd name="connsiteX0" fmla="*/ 504056 w 595496"/>
                <a:gd name="connsiteY0" fmla="*/ 504056 h 595496"/>
                <a:gd name="connsiteX1" fmla="*/ 0 w 595496"/>
                <a:gd name="connsiteY1" fmla="*/ 504056 h 595496"/>
                <a:gd name="connsiteX2" fmla="*/ 504056 w 595496"/>
                <a:gd name="connsiteY2" fmla="*/ 0 h 595496"/>
                <a:gd name="connsiteX3" fmla="*/ 595496 w 595496"/>
                <a:gd name="connsiteY3" fmla="*/ 595496 h 59549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504056 w 504056"/>
                <a:gd name="connsiteY2" fmla="*/ 0 h 50405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504056 w 504056"/>
                <a:gd name="connsiteY2" fmla="*/ 0 h 504056"/>
                <a:gd name="connsiteX0" fmla="*/ 0 w 504056"/>
                <a:gd name="connsiteY0" fmla="*/ 504056 h 504056"/>
                <a:gd name="connsiteX1" fmla="*/ 504056 w 504056"/>
                <a:gd name="connsiteY1" fmla="*/ 0 h 50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056" h="504056">
                  <a:moveTo>
                    <a:pt x="0" y="504056"/>
                  </a:moveTo>
                  <a:cubicBezTo>
                    <a:pt x="0" y="225674"/>
                    <a:pt x="225674" y="0"/>
                    <a:pt x="504056" y="0"/>
                  </a:cubicBezTo>
                </a:path>
              </a:pathLst>
            </a:custGeom>
            <a:noFill/>
            <a:ln w="76200" cap="sq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US" sz="1799"/>
            </a:p>
          </p:txBody>
        </p:sp>
        <p:cxnSp>
          <p:nvCxnSpPr>
            <p:cNvPr id="45" name="Gerader Verbinder 55">
              <a:extLst>
                <a:ext uri="{FF2B5EF4-FFF2-40B4-BE49-F238E27FC236}">
                  <a16:creationId xmlns:a16="http://schemas.microsoft.com/office/drawing/2014/main" id="{BE609BB1-88AE-F5C4-E6C2-3FE8B23BBA56}"/>
                </a:ext>
              </a:extLst>
            </p:cNvPr>
            <p:cNvCxnSpPr>
              <a:cxnSpLocks/>
              <a:stCxn id="43" idx="0"/>
            </p:cNvCxnSpPr>
            <p:nvPr/>
          </p:nvCxnSpPr>
          <p:spPr bwMode="gray">
            <a:xfrm rot="10800000" flipV="1">
              <a:off x="9102728" y="944561"/>
              <a:ext cx="987622" cy="0"/>
            </a:xfrm>
            <a:prstGeom prst="line">
              <a:avLst/>
            </a:prstGeom>
            <a:ln w="762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56">
            <a:extLst>
              <a:ext uri="{FF2B5EF4-FFF2-40B4-BE49-F238E27FC236}">
                <a16:creationId xmlns:a16="http://schemas.microsoft.com/office/drawing/2014/main" id="{BFE55DB5-ADBF-C1F1-3282-79CA332D89E8}"/>
              </a:ext>
            </a:extLst>
          </p:cNvPr>
          <p:cNvGrpSpPr>
            <a:grpSpLocks/>
          </p:cNvGrpSpPr>
          <p:nvPr/>
        </p:nvGrpSpPr>
        <p:grpSpPr>
          <a:xfrm>
            <a:off x="1620028" y="4706196"/>
            <a:ext cx="1076778" cy="1076719"/>
            <a:chOff x="7844394" y="4594436"/>
            <a:chExt cx="1076778" cy="1076719"/>
          </a:xfrm>
        </p:grpSpPr>
        <p:grpSp>
          <p:nvGrpSpPr>
            <p:cNvPr id="47" name="Gruppieren 57">
              <a:extLst>
                <a:ext uri="{FF2B5EF4-FFF2-40B4-BE49-F238E27FC236}">
                  <a16:creationId xmlns:a16="http://schemas.microsoft.com/office/drawing/2014/main" id="{89224D99-DC64-3986-CB2B-C4BB218ECBDB}"/>
                </a:ext>
              </a:extLst>
            </p:cNvPr>
            <p:cNvGrpSpPr>
              <a:grpSpLocks/>
            </p:cNvGrpSpPr>
            <p:nvPr/>
          </p:nvGrpSpPr>
          <p:grpSpPr bwMode="gray">
            <a:xfrm rot="16200000" flipH="1">
              <a:off x="7844512" y="4594496"/>
              <a:ext cx="1076719" cy="1076600"/>
              <a:chOff x="4118900" y="2294565"/>
              <a:chExt cx="1980165" cy="1979946"/>
            </a:xfrm>
          </p:grpSpPr>
          <p:sp>
            <p:nvSpPr>
              <p:cNvPr id="49" name="Ellipse 43">
                <a:extLst>
                  <a:ext uri="{FF2B5EF4-FFF2-40B4-BE49-F238E27FC236}">
                    <a16:creationId xmlns:a16="http://schemas.microsoft.com/office/drawing/2014/main" id="{70B1DE97-F394-DC18-7DA9-F26A54161AFB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 flipV="1">
                <a:off x="4118900" y="3284538"/>
                <a:ext cx="1980165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0180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  <a:cubicBezTo>
                      <a:pt x="1676607" y="0"/>
                      <a:pt x="2160180" y="483519"/>
                      <a:pt x="2160180" y="1079971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accent5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1600" b="1">
                  <a:solidFill>
                    <a:schemeClr val="tx2"/>
                  </a:solidFill>
                </a:endParaRPr>
              </a:p>
            </p:txBody>
          </p:sp>
          <p:sp>
            <p:nvSpPr>
              <p:cNvPr id="50" name="Ellipse 43">
                <a:extLst>
                  <a:ext uri="{FF2B5EF4-FFF2-40B4-BE49-F238E27FC236}">
                    <a16:creationId xmlns:a16="http://schemas.microsoft.com/office/drawing/2014/main" id="{B2E09553-E32F-A926-3379-89C136D20F09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5108982" y="2294565"/>
                <a:ext cx="990083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0 w 1080091"/>
                  <a:gd name="connsiteY0" fmla="*/ 1079971 h 1079971"/>
                  <a:gd name="connsiteX1" fmla="*/ 1080090 w 1080091"/>
                  <a:gd name="connsiteY1" fmla="*/ 0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91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</a:path>
                </a:pathLst>
              </a:custGeom>
              <a:noFill/>
              <a:ln w="76200" cap="sq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1600" b="1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8" name="Textfeld 58">
              <a:extLst>
                <a:ext uri="{FF2B5EF4-FFF2-40B4-BE49-F238E27FC236}">
                  <a16:creationId xmlns:a16="http://schemas.microsoft.com/office/drawing/2014/main" id="{2EF81D83-9F42-09E4-27A4-1FACCE8519FE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7844394" y="5011365"/>
              <a:ext cx="107671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>
                  <a:solidFill>
                    <a:schemeClr val="tx2"/>
                  </a:solidFill>
                </a:rPr>
                <a:t>01</a:t>
              </a:r>
            </a:p>
          </p:txBody>
        </p:sp>
      </p:grpSp>
      <p:grpSp>
        <p:nvGrpSpPr>
          <p:cNvPr id="51" name="Grafik 80">
            <a:extLst>
              <a:ext uri="{FF2B5EF4-FFF2-40B4-BE49-F238E27FC236}">
                <a16:creationId xmlns:a16="http://schemas.microsoft.com/office/drawing/2014/main" id="{D7964D7A-FCCE-54C8-2E70-8CF29430B9D5}"/>
              </a:ext>
            </a:extLst>
          </p:cNvPr>
          <p:cNvGrpSpPr>
            <a:grpSpLocks/>
          </p:cNvGrpSpPr>
          <p:nvPr/>
        </p:nvGrpSpPr>
        <p:grpSpPr>
          <a:xfrm>
            <a:off x="419099" y="4746582"/>
            <a:ext cx="392535" cy="599722"/>
            <a:chOff x="6577765" y="4658884"/>
            <a:chExt cx="392535" cy="599722"/>
          </a:xfrm>
          <a:solidFill>
            <a:schemeClr val="accent5"/>
          </a:solidFill>
        </p:grpSpPr>
        <p:sp>
          <p:nvSpPr>
            <p:cNvPr id="52" name="Freihandform: Form 62">
              <a:extLst>
                <a:ext uri="{FF2B5EF4-FFF2-40B4-BE49-F238E27FC236}">
                  <a16:creationId xmlns:a16="http://schemas.microsoft.com/office/drawing/2014/main" id="{8673B0E6-081F-15F0-78C2-4290F46D19B6}"/>
                </a:ext>
              </a:extLst>
            </p:cNvPr>
            <p:cNvSpPr>
              <a:spLocks/>
            </p:cNvSpPr>
            <p:nvPr/>
          </p:nvSpPr>
          <p:spPr>
            <a:xfrm>
              <a:off x="6760111" y="4658884"/>
              <a:ext cx="111389" cy="111389"/>
            </a:xfrm>
            <a:custGeom>
              <a:avLst/>
              <a:gdLst>
                <a:gd name="connsiteX0" fmla="*/ 55695 w 111389"/>
                <a:gd name="connsiteY0" fmla="*/ 111390 h 111389"/>
                <a:gd name="connsiteX1" fmla="*/ 111390 w 111389"/>
                <a:gd name="connsiteY1" fmla="*/ 55695 h 111389"/>
                <a:gd name="connsiteX2" fmla="*/ 55695 w 111389"/>
                <a:gd name="connsiteY2" fmla="*/ 0 h 111389"/>
                <a:gd name="connsiteX3" fmla="*/ 0 w 111389"/>
                <a:gd name="connsiteY3" fmla="*/ 55695 h 111389"/>
                <a:gd name="connsiteX4" fmla="*/ 55695 w 111389"/>
                <a:gd name="connsiteY4" fmla="*/ 111390 h 111389"/>
                <a:gd name="connsiteX5" fmla="*/ 55695 w 111389"/>
                <a:gd name="connsiteY5" fmla="*/ 13924 h 111389"/>
                <a:gd name="connsiteX6" fmla="*/ 97466 w 111389"/>
                <a:gd name="connsiteY6" fmla="*/ 55695 h 111389"/>
                <a:gd name="connsiteX7" fmla="*/ 55695 w 111389"/>
                <a:gd name="connsiteY7" fmla="*/ 97466 h 111389"/>
                <a:gd name="connsiteX8" fmla="*/ 13924 w 111389"/>
                <a:gd name="connsiteY8" fmla="*/ 55695 h 111389"/>
                <a:gd name="connsiteX9" fmla="*/ 55695 w 111389"/>
                <a:gd name="connsiteY9" fmla="*/ 13896 h 111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389" h="111389">
                  <a:moveTo>
                    <a:pt x="55695" y="111390"/>
                  </a:moveTo>
                  <a:cubicBezTo>
                    <a:pt x="86454" y="111390"/>
                    <a:pt x="111390" y="86454"/>
                    <a:pt x="111390" y="55695"/>
                  </a:cubicBezTo>
                  <a:cubicBezTo>
                    <a:pt x="111390" y="24935"/>
                    <a:pt x="86454" y="0"/>
                    <a:pt x="55695" y="0"/>
                  </a:cubicBezTo>
                  <a:cubicBezTo>
                    <a:pt x="24935" y="0"/>
                    <a:pt x="0" y="24935"/>
                    <a:pt x="0" y="55695"/>
                  </a:cubicBezTo>
                  <a:cubicBezTo>
                    <a:pt x="0" y="86454"/>
                    <a:pt x="24935" y="111390"/>
                    <a:pt x="55695" y="111390"/>
                  </a:cubicBezTo>
                  <a:close/>
                  <a:moveTo>
                    <a:pt x="55695" y="13924"/>
                  </a:moveTo>
                  <a:cubicBezTo>
                    <a:pt x="78764" y="13924"/>
                    <a:pt x="97466" y="32625"/>
                    <a:pt x="97466" y="55695"/>
                  </a:cubicBezTo>
                  <a:cubicBezTo>
                    <a:pt x="97466" y="78764"/>
                    <a:pt x="78764" y="97466"/>
                    <a:pt x="55695" y="97466"/>
                  </a:cubicBezTo>
                  <a:cubicBezTo>
                    <a:pt x="32625" y="97466"/>
                    <a:pt x="13924" y="78764"/>
                    <a:pt x="13924" y="55695"/>
                  </a:cubicBezTo>
                  <a:cubicBezTo>
                    <a:pt x="13939" y="32627"/>
                    <a:pt x="32627" y="13927"/>
                    <a:pt x="55695" y="13896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ihandform: Form 63">
              <a:extLst>
                <a:ext uri="{FF2B5EF4-FFF2-40B4-BE49-F238E27FC236}">
                  <a16:creationId xmlns:a16="http://schemas.microsoft.com/office/drawing/2014/main" id="{BA71AA65-37E2-B39D-84F4-888DEBCC20F9}"/>
                </a:ext>
              </a:extLst>
            </p:cNvPr>
            <p:cNvSpPr>
              <a:spLocks/>
            </p:cNvSpPr>
            <p:nvPr/>
          </p:nvSpPr>
          <p:spPr>
            <a:xfrm>
              <a:off x="6577765" y="5016877"/>
              <a:ext cx="172209" cy="241730"/>
            </a:xfrm>
            <a:custGeom>
              <a:avLst/>
              <a:gdLst>
                <a:gd name="connsiteX0" fmla="*/ 147537 w 172209"/>
                <a:gd name="connsiteY0" fmla="*/ 97118 h 241730"/>
                <a:gd name="connsiteX1" fmla="*/ 143631 w 172209"/>
                <a:gd name="connsiteY1" fmla="*/ 105319 h 241730"/>
                <a:gd name="connsiteX2" fmla="*/ 48950 w 172209"/>
                <a:gd name="connsiteY2" fmla="*/ 220266 h 241730"/>
                <a:gd name="connsiteX3" fmla="*/ 33474 w 172209"/>
                <a:gd name="connsiteY3" fmla="*/ 227792 h 241730"/>
                <a:gd name="connsiteX4" fmla="*/ 21012 w 172209"/>
                <a:gd name="connsiteY4" fmla="*/ 223295 h 241730"/>
                <a:gd name="connsiteX5" fmla="*/ 18589 w 172209"/>
                <a:gd name="connsiteY5" fmla="*/ 195252 h 241730"/>
                <a:gd name="connsiteX6" fmla="*/ 109093 w 172209"/>
                <a:gd name="connsiteY6" fmla="*/ 85109 h 241730"/>
                <a:gd name="connsiteX7" fmla="*/ 110541 w 172209"/>
                <a:gd name="connsiteY7" fmla="*/ 82087 h 241730"/>
                <a:gd name="connsiteX8" fmla="*/ 124757 w 172209"/>
                <a:gd name="connsiteY8" fmla="*/ 12622 h 241730"/>
                <a:gd name="connsiteX9" fmla="*/ 113131 w 172209"/>
                <a:gd name="connsiteY9" fmla="*/ 0 h 241730"/>
                <a:gd name="connsiteX10" fmla="*/ 97258 w 172209"/>
                <a:gd name="connsiteY10" fmla="*/ 77604 h 241730"/>
                <a:gd name="connsiteX11" fmla="*/ 7833 w 172209"/>
                <a:gd name="connsiteY11" fmla="*/ 186411 h 241730"/>
                <a:gd name="connsiteX12" fmla="*/ 12059 w 172209"/>
                <a:gd name="connsiteY12" fmla="*/ 233960 h 241730"/>
                <a:gd name="connsiteX13" fmla="*/ 59337 w 172209"/>
                <a:gd name="connsiteY13" fmla="*/ 229635 h 241730"/>
                <a:gd name="connsiteX14" fmla="*/ 59817 w 172209"/>
                <a:gd name="connsiteY14" fmla="*/ 229045 h 241730"/>
                <a:gd name="connsiteX15" fmla="*/ 154498 w 172209"/>
                <a:gd name="connsiteY15" fmla="*/ 114091 h 241730"/>
                <a:gd name="connsiteX16" fmla="*/ 161279 w 172209"/>
                <a:gd name="connsiteY16" fmla="*/ 99673 h 241730"/>
                <a:gd name="connsiteX17" fmla="*/ 172209 w 172209"/>
                <a:gd name="connsiteY17" fmla="*/ 46846 h 241730"/>
                <a:gd name="connsiteX18" fmla="*/ 159831 w 172209"/>
                <a:gd name="connsiteY18" fmla="*/ 37928 h 241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2209" h="241730">
                  <a:moveTo>
                    <a:pt x="147537" y="97118"/>
                  </a:moveTo>
                  <a:cubicBezTo>
                    <a:pt x="146936" y="100134"/>
                    <a:pt x="145594" y="102952"/>
                    <a:pt x="143631" y="105319"/>
                  </a:cubicBezTo>
                  <a:lnTo>
                    <a:pt x="48950" y="220266"/>
                  </a:lnTo>
                  <a:cubicBezTo>
                    <a:pt x="45259" y="225065"/>
                    <a:pt x="39528" y="227852"/>
                    <a:pt x="33474" y="227792"/>
                  </a:cubicBezTo>
                  <a:cubicBezTo>
                    <a:pt x="28915" y="227836"/>
                    <a:pt x="24492" y="226240"/>
                    <a:pt x="21012" y="223295"/>
                  </a:cubicBezTo>
                  <a:cubicBezTo>
                    <a:pt x="12614" y="216212"/>
                    <a:pt x="11531" y="203670"/>
                    <a:pt x="18589" y="195252"/>
                  </a:cubicBezTo>
                  <a:lnTo>
                    <a:pt x="109093" y="85109"/>
                  </a:lnTo>
                  <a:cubicBezTo>
                    <a:pt x="109814" y="84234"/>
                    <a:pt x="110312" y="83197"/>
                    <a:pt x="110541" y="82087"/>
                  </a:cubicBezTo>
                  <a:lnTo>
                    <a:pt x="124757" y="12622"/>
                  </a:lnTo>
                  <a:cubicBezTo>
                    <a:pt x="120163" y="9138"/>
                    <a:pt x="116226" y="4864"/>
                    <a:pt x="113131" y="0"/>
                  </a:cubicBezTo>
                  <a:lnTo>
                    <a:pt x="97258" y="77604"/>
                  </a:lnTo>
                  <a:lnTo>
                    <a:pt x="7833" y="186411"/>
                  </a:lnTo>
                  <a:cubicBezTo>
                    <a:pt x="-4081" y="200724"/>
                    <a:pt x="-2193" y="221972"/>
                    <a:pt x="12059" y="233960"/>
                  </a:cubicBezTo>
                  <a:cubicBezTo>
                    <a:pt x="26308" y="245822"/>
                    <a:pt x="47475" y="243886"/>
                    <a:pt x="59337" y="229635"/>
                  </a:cubicBezTo>
                  <a:cubicBezTo>
                    <a:pt x="59499" y="229440"/>
                    <a:pt x="59659" y="229243"/>
                    <a:pt x="59817" y="229045"/>
                  </a:cubicBezTo>
                  <a:lnTo>
                    <a:pt x="154498" y="114091"/>
                  </a:lnTo>
                  <a:cubicBezTo>
                    <a:pt x="157919" y="109921"/>
                    <a:pt x="160249" y="104967"/>
                    <a:pt x="161279" y="99673"/>
                  </a:cubicBezTo>
                  <a:lnTo>
                    <a:pt x="172209" y="46846"/>
                  </a:lnTo>
                  <a:lnTo>
                    <a:pt x="159831" y="37928"/>
                  </a:ln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ihandform: Form 64">
              <a:extLst>
                <a:ext uri="{FF2B5EF4-FFF2-40B4-BE49-F238E27FC236}">
                  <a16:creationId xmlns:a16="http://schemas.microsoft.com/office/drawing/2014/main" id="{B4903ED6-1AFD-FFC4-9F93-91B133040E7F}"/>
                </a:ext>
              </a:extLst>
            </p:cNvPr>
            <p:cNvSpPr>
              <a:spLocks/>
            </p:cNvSpPr>
            <p:nvPr/>
          </p:nvSpPr>
          <p:spPr>
            <a:xfrm>
              <a:off x="6613141" y="4785186"/>
              <a:ext cx="357159" cy="473400"/>
            </a:xfrm>
            <a:custGeom>
              <a:avLst/>
              <a:gdLst>
                <a:gd name="connsiteX0" fmla="*/ 334007 w 357159"/>
                <a:gd name="connsiteY0" fmla="*/ 143602 h 473400"/>
                <a:gd name="connsiteX1" fmla="*/ 267410 w 357159"/>
                <a:gd name="connsiteY1" fmla="*/ 121610 h 473400"/>
                <a:gd name="connsiteX2" fmla="*/ 228458 w 357159"/>
                <a:gd name="connsiteY2" fmla="*/ 31941 h 473400"/>
                <a:gd name="connsiteX3" fmla="*/ 175096 w 357159"/>
                <a:gd name="connsiteY3" fmla="*/ 0 h 473400"/>
                <a:gd name="connsiteX4" fmla="*/ 149573 w 357159"/>
                <a:gd name="connsiteY4" fmla="*/ 5890 h 473400"/>
                <a:gd name="connsiteX5" fmla="*/ 54955 w 357159"/>
                <a:gd name="connsiteY5" fmla="*/ 43073 h 473400"/>
                <a:gd name="connsiteX6" fmla="*/ 36276 w 357159"/>
                <a:gd name="connsiteY6" fmla="*/ 61717 h 473400"/>
                <a:gd name="connsiteX7" fmla="*/ 2442 w 357159"/>
                <a:gd name="connsiteY7" fmla="*/ 142899 h 473400"/>
                <a:gd name="connsiteX8" fmla="*/ 2894 w 357159"/>
                <a:gd name="connsiteY8" fmla="*/ 169535 h 473400"/>
                <a:gd name="connsiteX9" fmla="*/ 21190 w 357159"/>
                <a:gd name="connsiteY9" fmla="*/ 187086 h 473400"/>
                <a:gd name="connsiteX10" fmla="*/ 33902 w 357159"/>
                <a:gd name="connsiteY10" fmla="*/ 189606 h 473400"/>
                <a:gd name="connsiteX11" fmla="*/ 65377 w 357159"/>
                <a:gd name="connsiteY11" fmla="*/ 168303 h 473400"/>
                <a:gd name="connsiteX12" fmla="*/ 91971 w 357159"/>
                <a:gd name="connsiteY12" fmla="*/ 100891 h 473400"/>
                <a:gd name="connsiteX13" fmla="*/ 105512 w 357159"/>
                <a:gd name="connsiteY13" fmla="*/ 95732 h 473400"/>
                <a:gd name="connsiteX14" fmla="*/ 105598 w 357159"/>
                <a:gd name="connsiteY14" fmla="*/ 95754 h 473400"/>
                <a:gd name="connsiteX15" fmla="*/ 105602 w 357159"/>
                <a:gd name="connsiteY15" fmla="*/ 95809 h 473400"/>
                <a:gd name="connsiteX16" fmla="*/ 85866 w 357159"/>
                <a:gd name="connsiteY16" fmla="*/ 192147 h 473400"/>
                <a:gd name="connsiteX17" fmla="*/ 98355 w 357159"/>
                <a:gd name="connsiteY17" fmla="*/ 233716 h 473400"/>
                <a:gd name="connsiteX18" fmla="*/ 98355 w 357159"/>
                <a:gd name="connsiteY18" fmla="*/ 233716 h 473400"/>
                <a:gd name="connsiteX19" fmla="*/ 201272 w 357159"/>
                <a:gd name="connsiteY19" fmla="*/ 307832 h 473400"/>
                <a:gd name="connsiteX20" fmla="*/ 201272 w 357159"/>
                <a:gd name="connsiteY20" fmla="*/ 437901 h 473400"/>
                <a:gd name="connsiteX21" fmla="*/ 231856 w 357159"/>
                <a:gd name="connsiteY21" fmla="*/ 473232 h 473400"/>
                <a:gd name="connsiteX22" fmla="*/ 269075 w 357159"/>
                <a:gd name="connsiteY22" fmla="*/ 442724 h 473400"/>
                <a:gd name="connsiteX23" fmla="*/ 269241 w 357159"/>
                <a:gd name="connsiteY23" fmla="*/ 439411 h 473400"/>
                <a:gd name="connsiteX24" fmla="*/ 269241 w 357159"/>
                <a:gd name="connsiteY24" fmla="*/ 290762 h 473400"/>
                <a:gd name="connsiteX25" fmla="*/ 255575 w 357159"/>
                <a:gd name="connsiteY25" fmla="*/ 263520 h 473400"/>
                <a:gd name="connsiteX26" fmla="*/ 193614 w 357159"/>
                <a:gd name="connsiteY26" fmla="*/ 218171 h 473400"/>
                <a:gd name="connsiteX27" fmla="*/ 201210 w 357159"/>
                <a:gd name="connsiteY27" fmla="*/ 180215 h 473400"/>
                <a:gd name="connsiteX28" fmla="*/ 204057 w 357159"/>
                <a:gd name="connsiteY28" fmla="*/ 165177 h 473400"/>
                <a:gd name="connsiteX29" fmla="*/ 215892 w 357159"/>
                <a:gd name="connsiteY29" fmla="*/ 103446 h 473400"/>
                <a:gd name="connsiteX30" fmla="*/ 210618 w 357159"/>
                <a:gd name="connsiteY30" fmla="*/ 95132 h 473400"/>
                <a:gd name="connsiteX31" fmla="*/ 202304 w 357159"/>
                <a:gd name="connsiteY31" fmla="*/ 100407 h 473400"/>
                <a:gd name="connsiteX32" fmla="*/ 202219 w 357159"/>
                <a:gd name="connsiteY32" fmla="*/ 100856 h 473400"/>
                <a:gd name="connsiteX33" fmla="*/ 190544 w 357159"/>
                <a:gd name="connsiteY33" fmla="*/ 162504 h 473400"/>
                <a:gd name="connsiteX34" fmla="*/ 179085 w 357159"/>
                <a:gd name="connsiteY34" fmla="*/ 219800 h 473400"/>
                <a:gd name="connsiteX35" fmla="*/ 181800 w 357159"/>
                <a:gd name="connsiteY35" fmla="*/ 226762 h 473400"/>
                <a:gd name="connsiteX36" fmla="*/ 247450 w 357159"/>
                <a:gd name="connsiteY36" fmla="*/ 274798 h 473400"/>
                <a:gd name="connsiteX37" fmla="*/ 255289 w 357159"/>
                <a:gd name="connsiteY37" fmla="*/ 290720 h 473400"/>
                <a:gd name="connsiteX38" fmla="*/ 255289 w 357159"/>
                <a:gd name="connsiteY38" fmla="*/ 438597 h 473400"/>
                <a:gd name="connsiteX39" fmla="*/ 239221 w 357159"/>
                <a:gd name="connsiteY39" fmla="*/ 459065 h 473400"/>
                <a:gd name="connsiteX40" fmla="*/ 215584 w 357159"/>
                <a:gd name="connsiteY40" fmla="*/ 443295 h 473400"/>
                <a:gd name="connsiteX41" fmla="*/ 215196 w 357159"/>
                <a:gd name="connsiteY41" fmla="*/ 439418 h 473400"/>
                <a:gd name="connsiteX42" fmla="*/ 215196 w 357159"/>
                <a:gd name="connsiteY42" fmla="*/ 304275 h 473400"/>
                <a:gd name="connsiteX43" fmla="*/ 212314 w 357159"/>
                <a:gd name="connsiteY43" fmla="*/ 298636 h 473400"/>
                <a:gd name="connsiteX44" fmla="*/ 106494 w 357159"/>
                <a:gd name="connsiteY44" fmla="*/ 222383 h 473400"/>
                <a:gd name="connsiteX45" fmla="*/ 98237 w 357159"/>
                <a:gd name="connsiteY45" fmla="*/ 201253 h 473400"/>
                <a:gd name="connsiteX46" fmla="*/ 121817 w 357159"/>
                <a:gd name="connsiteY46" fmla="*/ 86062 h 473400"/>
                <a:gd name="connsiteX47" fmla="*/ 116393 w 357159"/>
                <a:gd name="connsiteY47" fmla="*/ 77845 h 473400"/>
                <a:gd name="connsiteX48" fmla="*/ 112516 w 357159"/>
                <a:gd name="connsiteY48" fmla="*/ 78161 h 473400"/>
                <a:gd name="connsiteX49" fmla="*/ 84118 w 357159"/>
                <a:gd name="connsiteY49" fmla="*/ 88972 h 473400"/>
                <a:gd name="connsiteX50" fmla="*/ 80122 w 357159"/>
                <a:gd name="connsiteY50" fmla="*/ 92927 h 473400"/>
                <a:gd name="connsiteX51" fmla="*/ 52379 w 357159"/>
                <a:gd name="connsiteY51" fmla="*/ 163311 h 473400"/>
                <a:gd name="connsiteX52" fmla="*/ 33902 w 357159"/>
                <a:gd name="connsiteY52" fmla="*/ 175682 h 473400"/>
                <a:gd name="connsiteX53" fmla="*/ 26244 w 357159"/>
                <a:gd name="connsiteY53" fmla="*/ 174116 h 473400"/>
                <a:gd name="connsiteX54" fmla="*/ 15634 w 357159"/>
                <a:gd name="connsiteY54" fmla="*/ 163945 h 473400"/>
                <a:gd name="connsiteX55" fmla="*/ 15328 w 357159"/>
                <a:gd name="connsiteY55" fmla="*/ 148162 h 473400"/>
                <a:gd name="connsiteX56" fmla="*/ 49142 w 357159"/>
                <a:gd name="connsiteY56" fmla="*/ 66987 h 473400"/>
                <a:gd name="connsiteX57" fmla="*/ 60086 w 357159"/>
                <a:gd name="connsiteY57" fmla="*/ 56008 h 473400"/>
                <a:gd name="connsiteX58" fmla="*/ 155233 w 357159"/>
                <a:gd name="connsiteY58" fmla="*/ 18595 h 473400"/>
                <a:gd name="connsiteX59" fmla="*/ 175096 w 357159"/>
                <a:gd name="connsiteY59" fmla="*/ 13924 h 473400"/>
                <a:gd name="connsiteX60" fmla="*/ 216171 w 357159"/>
                <a:gd name="connsiteY60" fmla="*/ 38422 h 473400"/>
                <a:gd name="connsiteX61" fmla="*/ 255909 w 357159"/>
                <a:gd name="connsiteY61" fmla="*/ 130054 h 473400"/>
                <a:gd name="connsiteX62" fmla="*/ 260086 w 357159"/>
                <a:gd name="connsiteY62" fmla="*/ 133849 h 473400"/>
                <a:gd name="connsiteX63" fmla="*/ 329649 w 357159"/>
                <a:gd name="connsiteY63" fmla="*/ 156823 h 473400"/>
                <a:gd name="connsiteX64" fmla="*/ 342222 w 357159"/>
                <a:gd name="connsiteY64" fmla="*/ 182233 h 473400"/>
                <a:gd name="connsiteX65" fmla="*/ 323070 w 357159"/>
                <a:gd name="connsiteY65" fmla="*/ 195962 h 473400"/>
                <a:gd name="connsiteX66" fmla="*/ 316463 w 357159"/>
                <a:gd name="connsiteY66" fmla="*/ 194932 h 473400"/>
                <a:gd name="connsiteX67" fmla="*/ 235573 w 357159"/>
                <a:gd name="connsiteY67" fmla="*/ 167997 h 473400"/>
                <a:gd name="connsiteX68" fmla="*/ 223369 w 357159"/>
                <a:gd name="connsiteY68" fmla="*/ 156913 h 473400"/>
                <a:gd name="connsiteX69" fmla="*/ 220870 w 357159"/>
                <a:gd name="connsiteY69" fmla="*/ 151135 h 473400"/>
                <a:gd name="connsiteX70" fmla="*/ 216992 w 357159"/>
                <a:gd name="connsiteY70" fmla="*/ 171631 h 473400"/>
                <a:gd name="connsiteX71" fmla="*/ 230985 w 357159"/>
                <a:gd name="connsiteY71" fmla="*/ 181147 h 473400"/>
                <a:gd name="connsiteX72" fmla="*/ 312627 w 357159"/>
                <a:gd name="connsiteY72" fmla="*/ 208299 h 473400"/>
                <a:gd name="connsiteX73" fmla="*/ 323070 w 357159"/>
                <a:gd name="connsiteY73" fmla="*/ 209844 h 473400"/>
                <a:gd name="connsiteX74" fmla="*/ 355352 w 357159"/>
                <a:gd name="connsiteY74" fmla="*/ 186870 h 473400"/>
                <a:gd name="connsiteX75" fmla="*/ 334007 w 357159"/>
                <a:gd name="connsiteY75" fmla="*/ 143602 h 47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357159" h="473400">
                  <a:moveTo>
                    <a:pt x="334007" y="143602"/>
                  </a:moveTo>
                  <a:lnTo>
                    <a:pt x="267410" y="121610"/>
                  </a:lnTo>
                  <a:cubicBezTo>
                    <a:pt x="258847" y="101817"/>
                    <a:pt x="229892" y="34809"/>
                    <a:pt x="228458" y="31941"/>
                  </a:cubicBezTo>
                  <a:cubicBezTo>
                    <a:pt x="217751" y="12432"/>
                    <a:pt x="197349" y="219"/>
                    <a:pt x="175096" y="0"/>
                  </a:cubicBezTo>
                  <a:cubicBezTo>
                    <a:pt x="166252" y="6"/>
                    <a:pt x="157525" y="2020"/>
                    <a:pt x="149573" y="5890"/>
                  </a:cubicBezTo>
                  <a:lnTo>
                    <a:pt x="54955" y="43073"/>
                  </a:lnTo>
                  <a:cubicBezTo>
                    <a:pt x="46454" y="46491"/>
                    <a:pt x="39711" y="53223"/>
                    <a:pt x="36276" y="61717"/>
                  </a:cubicBezTo>
                  <a:lnTo>
                    <a:pt x="2442" y="142899"/>
                  </a:lnTo>
                  <a:cubicBezTo>
                    <a:pt x="-964" y="151483"/>
                    <a:pt x="-801" y="161072"/>
                    <a:pt x="2894" y="169535"/>
                  </a:cubicBezTo>
                  <a:cubicBezTo>
                    <a:pt x="6376" y="177614"/>
                    <a:pt x="12974" y="183943"/>
                    <a:pt x="21190" y="187086"/>
                  </a:cubicBezTo>
                  <a:cubicBezTo>
                    <a:pt x="25228" y="188728"/>
                    <a:pt x="29543" y="189583"/>
                    <a:pt x="33902" y="189606"/>
                  </a:cubicBezTo>
                  <a:cubicBezTo>
                    <a:pt x="47829" y="189827"/>
                    <a:pt x="60406" y="181314"/>
                    <a:pt x="65377" y="168303"/>
                  </a:cubicBezTo>
                  <a:lnTo>
                    <a:pt x="91971" y="100891"/>
                  </a:lnTo>
                  <a:lnTo>
                    <a:pt x="105512" y="95732"/>
                  </a:lnTo>
                  <a:cubicBezTo>
                    <a:pt x="105542" y="95715"/>
                    <a:pt x="105580" y="95724"/>
                    <a:pt x="105598" y="95754"/>
                  </a:cubicBezTo>
                  <a:cubicBezTo>
                    <a:pt x="105608" y="95771"/>
                    <a:pt x="105609" y="95791"/>
                    <a:pt x="105602" y="95809"/>
                  </a:cubicBezTo>
                  <a:lnTo>
                    <a:pt x="85866" y="192147"/>
                  </a:lnTo>
                  <a:cubicBezTo>
                    <a:pt x="83671" y="207169"/>
                    <a:pt x="88245" y="222392"/>
                    <a:pt x="98355" y="233716"/>
                  </a:cubicBezTo>
                  <a:lnTo>
                    <a:pt x="98355" y="233716"/>
                  </a:lnTo>
                  <a:lnTo>
                    <a:pt x="201272" y="307832"/>
                  </a:lnTo>
                  <a:lnTo>
                    <a:pt x="201272" y="437901"/>
                  </a:lnTo>
                  <a:cubicBezTo>
                    <a:pt x="200966" y="455754"/>
                    <a:pt x="214143" y="470976"/>
                    <a:pt x="231856" y="473232"/>
                  </a:cubicBezTo>
                  <a:cubicBezTo>
                    <a:pt x="250558" y="475085"/>
                    <a:pt x="267222" y="461426"/>
                    <a:pt x="269075" y="442724"/>
                  </a:cubicBezTo>
                  <a:cubicBezTo>
                    <a:pt x="269184" y="441623"/>
                    <a:pt x="269239" y="440518"/>
                    <a:pt x="269241" y="439411"/>
                  </a:cubicBezTo>
                  <a:lnTo>
                    <a:pt x="269241" y="290762"/>
                  </a:lnTo>
                  <a:cubicBezTo>
                    <a:pt x="269378" y="280001"/>
                    <a:pt x="264283" y="269844"/>
                    <a:pt x="255575" y="263520"/>
                  </a:cubicBezTo>
                  <a:lnTo>
                    <a:pt x="193614" y="218171"/>
                  </a:lnTo>
                  <a:lnTo>
                    <a:pt x="201210" y="180215"/>
                  </a:lnTo>
                  <a:lnTo>
                    <a:pt x="204057" y="165177"/>
                  </a:lnTo>
                  <a:lnTo>
                    <a:pt x="215892" y="103446"/>
                  </a:lnTo>
                  <a:cubicBezTo>
                    <a:pt x="216732" y="99694"/>
                    <a:pt x="214370" y="95972"/>
                    <a:pt x="210618" y="95132"/>
                  </a:cubicBezTo>
                  <a:cubicBezTo>
                    <a:pt x="206865" y="94293"/>
                    <a:pt x="203144" y="96655"/>
                    <a:pt x="202304" y="100407"/>
                  </a:cubicBezTo>
                  <a:cubicBezTo>
                    <a:pt x="202271" y="100556"/>
                    <a:pt x="202243" y="100705"/>
                    <a:pt x="202219" y="100856"/>
                  </a:cubicBezTo>
                  <a:lnTo>
                    <a:pt x="190544" y="162504"/>
                  </a:lnTo>
                  <a:lnTo>
                    <a:pt x="179085" y="219800"/>
                  </a:lnTo>
                  <a:cubicBezTo>
                    <a:pt x="178562" y="222451"/>
                    <a:pt x="179621" y="225164"/>
                    <a:pt x="181800" y="226762"/>
                  </a:cubicBezTo>
                  <a:lnTo>
                    <a:pt x="247450" y="274798"/>
                  </a:lnTo>
                  <a:cubicBezTo>
                    <a:pt x="252497" y="278515"/>
                    <a:pt x="255421" y="284454"/>
                    <a:pt x="255289" y="290720"/>
                  </a:cubicBezTo>
                  <a:lnTo>
                    <a:pt x="255289" y="438597"/>
                  </a:lnTo>
                  <a:cubicBezTo>
                    <a:pt x="255465" y="448367"/>
                    <a:pt x="248754" y="456916"/>
                    <a:pt x="239221" y="459065"/>
                  </a:cubicBezTo>
                  <a:cubicBezTo>
                    <a:pt x="228340" y="461237"/>
                    <a:pt x="217757" y="454177"/>
                    <a:pt x="215584" y="443295"/>
                  </a:cubicBezTo>
                  <a:cubicBezTo>
                    <a:pt x="215330" y="442019"/>
                    <a:pt x="215199" y="440720"/>
                    <a:pt x="215196" y="439418"/>
                  </a:cubicBezTo>
                  <a:lnTo>
                    <a:pt x="215196" y="304275"/>
                  </a:lnTo>
                  <a:cubicBezTo>
                    <a:pt x="215195" y="302041"/>
                    <a:pt x="214123" y="299945"/>
                    <a:pt x="212314" y="298636"/>
                  </a:cubicBezTo>
                  <a:lnTo>
                    <a:pt x="106494" y="222383"/>
                  </a:lnTo>
                  <a:cubicBezTo>
                    <a:pt x="99823" y="217578"/>
                    <a:pt x="96591" y="209307"/>
                    <a:pt x="98237" y="201253"/>
                  </a:cubicBezTo>
                  <a:lnTo>
                    <a:pt x="121817" y="86062"/>
                  </a:lnTo>
                  <a:cubicBezTo>
                    <a:pt x="122588" y="82295"/>
                    <a:pt x="120160" y="78617"/>
                    <a:pt x="116393" y="77845"/>
                  </a:cubicBezTo>
                  <a:cubicBezTo>
                    <a:pt x="115097" y="77580"/>
                    <a:pt x="113752" y="77689"/>
                    <a:pt x="112516" y="78161"/>
                  </a:cubicBezTo>
                  <a:lnTo>
                    <a:pt x="84118" y="88972"/>
                  </a:lnTo>
                  <a:cubicBezTo>
                    <a:pt x="82289" y="89670"/>
                    <a:pt x="80839" y="91106"/>
                    <a:pt x="80122" y="92927"/>
                  </a:cubicBezTo>
                  <a:lnTo>
                    <a:pt x="52379" y="163311"/>
                  </a:lnTo>
                  <a:cubicBezTo>
                    <a:pt x="49495" y="170958"/>
                    <a:pt x="42071" y="175929"/>
                    <a:pt x="33902" y="175682"/>
                  </a:cubicBezTo>
                  <a:cubicBezTo>
                    <a:pt x="31273" y="175657"/>
                    <a:pt x="28673" y="175125"/>
                    <a:pt x="26244" y="174116"/>
                  </a:cubicBezTo>
                  <a:cubicBezTo>
                    <a:pt x="21480" y="172295"/>
                    <a:pt x="17654" y="168628"/>
                    <a:pt x="15634" y="163945"/>
                  </a:cubicBezTo>
                  <a:cubicBezTo>
                    <a:pt x="13442" y="158933"/>
                    <a:pt x="13332" y="153255"/>
                    <a:pt x="15328" y="148162"/>
                  </a:cubicBezTo>
                  <a:lnTo>
                    <a:pt x="49142" y="66987"/>
                  </a:lnTo>
                  <a:cubicBezTo>
                    <a:pt x="51146" y="61992"/>
                    <a:pt x="55097" y="58028"/>
                    <a:pt x="60086" y="56008"/>
                  </a:cubicBezTo>
                  <a:lnTo>
                    <a:pt x="155233" y="18595"/>
                  </a:lnTo>
                  <a:cubicBezTo>
                    <a:pt x="161411" y="15544"/>
                    <a:pt x="168205" y="13946"/>
                    <a:pt x="175096" y="13924"/>
                  </a:cubicBezTo>
                  <a:cubicBezTo>
                    <a:pt x="192200" y="14097"/>
                    <a:pt x="207889" y="23455"/>
                    <a:pt x="216171" y="38422"/>
                  </a:cubicBezTo>
                  <a:cubicBezTo>
                    <a:pt x="217459" y="41110"/>
                    <a:pt x="240655" y="94716"/>
                    <a:pt x="255909" y="130054"/>
                  </a:cubicBezTo>
                  <a:cubicBezTo>
                    <a:pt x="256689" y="131862"/>
                    <a:pt x="258211" y="133246"/>
                    <a:pt x="260086" y="133849"/>
                  </a:cubicBezTo>
                  <a:lnTo>
                    <a:pt x="329649" y="156823"/>
                  </a:lnTo>
                  <a:cubicBezTo>
                    <a:pt x="340083" y="160431"/>
                    <a:pt x="345683" y="171750"/>
                    <a:pt x="342222" y="182233"/>
                  </a:cubicBezTo>
                  <a:cubicBezTo>
                    <a:pt x="339297" y="190334"/>
                    <a:pt x="331681" y="195794"/>
                    <a:pt x="323070" y="195962"/>
                  </a:cubicBezTo>
                  <a:cubicBezTo>
                    <a:pt x="320833" y="195895"/>
                    <a:pt x="318614" y="195549"/>
                    <a:pt x="316463" y="194932"/>
                  </a:cubicBezTo>
                  <a:lnTo>
                    <a:pt x="235573" y="167997"/>
                  </a:lnTo>
                  <a:cubicBezTo>
                    <a:pt x="230245" y="165987"/>
                    <a:pt x="225881" y="162024"/>
                    <a:pt x="223369" y="156913"/>
                  </a:cubicBezTo>
                  <a:lnTo>
                    <a:pt x="220870" y="151135"/>
                  </a:lnTo>
                  <a:lnTo>
                    <a:pt x="216992" y="171631"/>
                  </a:lnTo>
                  <a:cubicBezTo>
                    <a:pt x="220816" y="175891"/>
                    <a:pt x="225618" y="179157"/>
                    <a:pt x="230985" y="181147"/>
                  </a:cubicBezTo>
                  <a:lnTo>
                    <a:pt x="312627" y="208299"/>
                  </a:lnTo>
                  <a:cubicBezTo>
                    <a:pt x="316026" y="209266"/>
                    <a:pt x="319537" y="209785"/>
                    <a:pt x="323070" y="209844"/>
                  </a:cubicBezTo>
                  <a:cubicBezTo>
                    <a:pt x="337558" y="209635"/>
                    <a:pt x="350408" y="200490"/>
                    <a:pt x="355352" y="186870"/>
                  </a:cubicBezTo>
                  <a:cubicBezTo>
                    <a:pt x="361382" y="169029"/>
                    <a:pt x="351834" y="149674"/>
                    <a:pt x="334007" y="143602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5" name="Grafik 82">
            <a:extLst>
              <a:ext uri="{FF2B5EF4-FFF2-40B4-BE49-F238E27FC236}">
                <a16:creationId xmlns:a16="http://schemas.microsoft.com/office/drawing/2014/main" id="{466D69A4-3D8D-6D8E-7A75-60482657FB4F}"/>
              </a:ext>
            </a:extLst>
          </p:cNvPr>
          <p:cNvGrpSpPr>
            <a:grpSpLocks/>
          </p:cNvGrpSpPr>
          <p:nvPr/>
        </p:nvGrpSpPr>
        <p:grpSpPr>
          <a:xfrm>
            <a:off x="4579629" y="3006988"/>
            <a:ext cx="543664" cy="543661"/>
            <a:chOff x="10821117" y="2939671"/>
            <a:chExt cx="543664" cy="543661"/>
          </a:xfrm>
          <a:solidFill>
            <a:schemeClr val="accent5"/>
          </a:solidFill>
        </p:grpSpPr>
        <p:sp>
          <p:nvSpPr>
            <p:cNvPr id="56" name="Freihandform: Form 66">
              <a:extLst>
                <a:ext uri="{FF2B5EF4-FFF2-40B4-BE49-F238E27FC236}">
                  <a16:creationId xmlns:a16="http://schemas.microsoft.com/office/drawing/2014/main" id="{FAC5E7AD-8305-9D21-AB13-8BD3EDB3C945}"/>
                </a:ext>
              </a:extLst>
            </p:cNvPr>
            <p:cNvSpPr>
              <a:spLocks/>
            </p:cNvSpPr>
            <p:nvPr/>
          </p:nvSpPr>
          <p:spPr>
            <a:xfrm>
              <a:off x="10821117" y="2974438"/>
              <a:ext cx="508854" cy="508894"/>
            </a:xfrm>
            <a:custGeom>
              <a:avLst/>
              <a:gdLst>
                <a:gd name="connsiteX0" fmla="*/ 457336 w 508854"/>
                <a:gd name="connsiteY0" fmla="*/ 125354 h 508894"/>
                <a:gd name="connsiteX1" fmla="*/ 383541 w 508854"/>
                <a:gd name="connsiteY1" fmla="*/ 457417 h 508894"/>
                <a:gd name="connsiteX2" fmla="*/ 51478 w 508854"/>
                <a:gd name="connsiteY2" fmla="*/ 383621 h 508894"/>
                <a:gd name="connsiteX3" fmla="*/ 125274 w 508854"/>
                <a:gd name="connsiteY3" fmla="*/ 51559 h 508894"/>
                <a:gd name="connsiteX4" fmla="*/ 383541 w 508854"/>
                <a:gd name="connsiteY4" fmla="*/ 51559 h 508894"/>
                <a:gd name="connsiteX5" fmla="*/ 383541 w 508854"/>
                <a:gd name="connsiteY5" fmla="*/ 35226 h 508894"/>
                <a:gd name="connsiteX6" fmla="*/ 35226 w 508854"/>
                <a:gd name="connsiteY6" fmla="*/ 125354 h 508894"/>
                <a:gd name="connsiteX7" fmla="*/ 125355 w 508854"/>
                <a:gd name="connsiteY7" fmla="*/ 473668 h 508894"/>
                <a:gd name="connsiteX8" fmla="*/ 473669 w 508854"/>
                <a:gd name="connsiteY8" fmla="*/ 383540 h 508894"/>
                <a:gd name="connsiteX9" fmla="*/ 473669 w 508854"/>
                <a:gd name="connsiteY9" fmla="*/ 125354 h 508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8854" h="508894">
                  <a:moveTo>
                    <a:pt x="457336" y="125354"/>
                  </a:moveTo>
                  <a:cubicBezTo>
                    <a:pt x="528655" y="237429"/>
                    <a:pt x="495615" y="386099"/>
                    <a:pt x="383541" y="457417"/>
                  </a:cubicBezTo>
                  <a:cubicBezTo>
                    <a:pt x="271466" y="528735"/>
                    <a:pt x="122796" y="495696"/>
                    <a:pt x="51478" y="383621"/>
                  </a:cubicBezTo>
                  <a:cubicBezTo>
                    <a:pt x="-19840" y="271546"/>
                    <a:pt x="13199" y="122877"/>
                    <a:pt x="125274" y="51559"/>
                  </a:cubicBezTo>
                  <a:cubicBezTo>
                    <a:pt x="204063" y="1422"/>
                    <a:pt x="304751" y="1422"/>
                    <a:pt x="383541" y="51559"/>
                  </a:cubicBezTo>
                  <a:lnTo>
                    <a:pt x="383541" y="35226"/>
                  </a:lnTo>
                  <a:cubicBezTo>
                    <a:pt x="262468" y="-36070"/>
                    <a:pt x="106522" y="4282"/>
                    <a:pt x="35226" y="125354"/>
                  </a:cubicBezTo>
                  <a:cubicBezTo>
                    <a:pt x="-36070" y="246427"/>
                    <a:pt x="4282" y="402373"/>
                    <a:pt x="125355" y="473668"/>
                  </a:cubicBezTo>
                  <a:cubicBezTo>
                    <a:pt x="246427" y="544965"/>
                    <a:pt x="402372" y="504613"/>
                    <a:pt x="473669" y="383540"/>
                  </a:cubicBezTo>
                  <a:cubicBezTo>
                    <a:pt x="520583" y="303872"/>
                    <a:pt x="520583" y="205023"/>
                    <a:pt x="473669" y="125354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ihandform: Form 67">
              <a:extLst>
                <a:ext uri="{FF2B5EF4-FFF2-40B4-BE49-F238E27FC236}">
                  <a16:creationId xmlns:a16="http://schemas.microsoft.com/office/drawing/2014/main" id="{684735F0-BED3-8C60-9B5D-B97FD95B0A5F}"/>
                </a:ext>
              </a:extLst>
            </p:cNvPr>
            <p:cNvSpPr>
              <a:spLocks/>
            </p:cNvSpPr>
            <p:nvPr/>
          </p:nvSpPr>
          <p:spPr>
            <a:xfrm>
              <a:off x="10911731" y="3064969"/>
              <a:ext cx="327735" cy="327749"/>
            </a:xfrm>
            <a:custGeom>
              <a:avLst/>
              <a:gdLst>
                <a:gd name="connsiteX0" fmla="*/ 258361 w 327735"/>
                <a:gd name="connsiteY0" fmla="*/ 29998 h 327749"/>
                <a:gd name="connsiteX1" fmla="*/ 29999 w 327735"/>
                <a:gd name="connsiteY1" fmla="*/ 69389 h 327749"/>
                <a:gd name="connsiteX2" fmla="*/ 69389 w 327735"/>
                <a:gd name="connsiteY2" fmla="*/ 297751 h 327749"/>
                <a:gd name="connsiteX3" fmla="*/ 297751 w 327735"/>
                <a:gd name="connsiteY3" fmla="*/ 258360 h 327749"/>
                <a:gd name="connsiteX4" fmla="*/ 297751 w 327735"/>
                <a:gd name="connsiteY4" fmla="*/ 69389 h 327749"/>
                <a:gd name="connsiteX5" fmla="*/ 287754 w 327735"/>
                <a:gd name="connsiteY5" fmla="*/ 79379 h 327749"/>
                <a:gd name="connsiteX6" fmla="*/ 248370 w 327735"/>
                <a:gd name="connsiteY6" fmla="*/ 287683 h 327749"/>
                <a:gd name="connsiteX7" fmla="*/ 40066 w 327735"/>
                <a:gd name="connsiteY7" fmla="*/ 248300 h 327749"/>
                <a:gd name="connsiteX8" fmla="*/ 79449 w 327735"/>
                <a:gd name="connsiteY8" fmla="*/ 39996 h 327749"/>
                <a:gd name="connsiteX9" fmla="*/ 248370 w 327735"/>
                <a:gd name="connsiteY9" fmla="*/ 39996 h 327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7735" h="327749">
                  <a:moveTo>
                    <a:pt x="258361" y="29998"/>
                  </a:moveTo>
                  <a:cubicBezTo>
                    <a:pt x="184423" y="-22185"/>
                    <a:pt x="82181" y="-4549"/>
                    <a:pt x="29999" y="69389"/>
                  </a:cubicBezTo>
                  <a:cubicBezTo>
                    <a:pt x="-22185" y="143326"/>
                    <a:pt x="-4550" y="245568"/>
                    <a:pt x="69389" y="297751"/>
                  </a:cubicBezTo>
                  <a:cubicBezTo>
                    <a:pt x="143326" y="349934"/>
                    <a:pt x="245568" y="332299"/>
                    <a:pt x="297751" y="258360"/>
                  </a:cubicBezTo>
                  <a:cubicBezTo>
                    <a:pt x="337731" y="201714"/>
                    <a:pt x="337731" y="126036"/>
                    <a:pt x="297751" y="69389"/>
                  </a:cubicBezTo>
                  <a:lnTo>
                    <a:pt x="287754" y="79379"/>
                  </a:lnTo>
                  <a:cubicBezTo>
                    <a:pt x="334400" y="147776"/>
                    <a:pt x="316767" y="241037"/>
                    <a:pt x="248370" y="287683"/>
                  </a:cubicBezTo>
                  <a:cubicBezTo>
                    <a:pt x="179974" y="334329"/>
                    <a:pt x="86713" y="316697"/>
                    <a:pt x="40066" y="248300"/>
                  </a:cubicBezTo>
                  <a:cubicBezTo>
                    <a:pt x="-6580" y="179902"/>
                    <a:pt x="11053" y="86642"/>
                    <a:pt x="79449" y="39996"/>
                  </a:cubicBezTo>
                  <a:cubicBezTo>
                    <a:pt x="130396" y="5250"/>
                    <a:pt x="197424" y="5250"/>
                    <a:pt x="248370" y="39996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ihandform: Form 68">
              <a:extLst>
                <a:ext uri="{FF2B5EF4-FFF2-40B4-BE49-F238E27FC236}">
                  <a16:creationId xmlns:a16="http://schemas.microsoft.com/office/drawing/2014/main" id="{9EC7179A-65E2-9D95-568E-C638443F4F57}"/>
                </a:ext>
              </a:extLst>
            </p:cNvPr>
            <p:cNvSpPr>
              <a:spLocks/>
            </p:cNvSpPr>
            <p:nvPr/>
          </p:nvSpPr>
          <p:spPr>
            <a:xfrm>
              <a:off x="11002606" y="3155467"/>
              <a:ext cx="146357" cy="146376"/>
            </a:xfrm>
            <a:custGeom>
              <a:avLst/>
              <a:gdLst>
                <a:gd name="connsiteX0" fmla="*/ 73257 w 146357"/>
                <a:gd name="connsiteY0" fmla="*/ 13944 h 146376"/>
                <a:gd name="connsiteX1" fmla="*/ 90474 w 146357"/>
                <a:gd name="connsiteY1" fmla="*/ 16513 h 146376"/>
                <a:gd name="connsiteX2" fmla="*/ 101341 w 146357"/>
                <a:gd name="connsiteY2" fmla="*/ 5652 h 146376"/>
                <a:gd name="connsiteX3" fmla="*/ 5652 w 146357"/>
                <a:gd name="connsiteY3" fmla="*/ 45035 h 146376"/>
                <a:gd name="connsiteX4" fmla="*/ 45035 w 146357"/>
                <a:gd name="connsiteY4" fmla="*/ 140725 h 146376"/>
                <a:gd name="connsiteX5" fmla="*/ 140724 w 146357"/>
                <a:gd name="connsiteY5" fmla="*/ 101341 h 146376"/>
                <a:gd name="connsiteX6" fmla="*/ 140724 w 146357"/>
                <a:gd name="connsiteY6" fmla="*/ 45035 h 146376"/>
                <a:gd name="connsiteX7" fmla="*/ 129864 w 146357"/>
                <a:gd name="connsiteY7" fmla="*/ 55903 h 146376"/>
                <a:gd name="connsiteX8" fmla="*/ 90465 w 146357"/>
                <a:gd name="connsiteY8" fmla="*/ 129735 h 146376"/>
                <a:gd name="connsiteX9" fmla="*/ 16632 w 146357"/>
                <a:gd name="connsiteY9" fmla="*/ 90336 h 146376"/>
                <a:gd name="connsiteX10" fmla="*/ 56031 w 146357"/>
                <a:gd name="connsiteY10" fmla="*/ 16504 h 146376"/>
                <a:gd name="connsiteX11" fmla="*/ 73257 w 146357"/>
                <a:gd name="connsiteY11" fmla="*/ 13944 h 146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357" h="146376">
                  <a:moveTo>
                    <a:pt x="73257" y="13944"/>
                  </a:moveTo>
                  <a:cubicBezTo>
                    <a:pt x="79091" y="13946"/>
                    <a:pt x="84893" y="14811"/>
                    <a:pt x="90474" y="16513"/>
                  </a:cubicBezTo>
                  <a:lnTo>
                    <a:pt x="101341" y="5652"/>
                  </a:lnTo>
                  <a:cubicBezTo>
                    <a:pt x="64042" y="-9896"/>
                    <a:pt x="21200" y="7736"/>
                    <a:pt x="5652" y="45035"/>
                  </a:cubicBezTo>
                  <a:cubicBezTo>
                    <a:pt x="-9896" y="82335"/>
                    <a:pt x="7736" y="125176"/>
                    <a:pt x="45035" y="140725"/>
                  </a:cubicBezTo>
                  <a:cubicBezTo>
                    <a:pt x="82335" y="156273"/>
                    <a:pt x="125176" y="138640"/>
                    <a:pt x="140724" y="101341"/>
                  </a:cubicBezTo>
                  <a:cubicBezTo>
                    <a:pt x="148235" y="83324"/>
                    <a:pt x="148235" y="63053"/>
                    <a:pt x="140724" y="45035"/>
                  </a:cubicBezTo>
                  <a:lnTo>
                    <a:pt x="129864" y="55903"/>
                  </a:lnTo>
                  <a:cubicBezTo>
                    <a:pt x="139372" y="87171"/>
                    <a:pt x="121732" y="120227"/>
                    <a:pt x="90465" y="129735"/>
                  </a:cubicBezTo>
                  <a:cubicBezTo>
                    <a:pt x="59197" y="139244"/>
                    <a:pt x="26141" y="121604"/>
                    <a:pt x="16632" y="90336"/>
                  </a:cubicBezTo>
                  <a:cubicBezTo>
                    <a:pt x="7124" y="59068"/>
                    <a:pt x="24763" y="26012"/>
                    <a:pt x="56031" y="16504"/>
                  </a:cubicBezTo>
                  <a:cubicBezTo>
                    <a:pt x="61615" y="14806"/>
                    <a:pt x="67420" y="13943"/>
                    <a:pt x="73257" y="13944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69">
              <a:extLst>
                <a:ext uri="{FF2B5EF4-FFF2-40B4-BE49-F238E27FC236}">
                  <a16:creationId xmlns:a16="http://schemas.microsoft.com/office/drawing/2014/main" id="{223C7394-FE77-64E6-640D-E06EA28F3ED6}"/>
                </a:ext>
              </a:extLst>
            </p:cNvPr>
            <p:cNvSpPr>
              <a:spLocks/>
            </p:cNvSpPr>
            <p:nvPr/>
          </p:nvSpPr>
          <p:spPr>
            <a:xfrm>
              <a:off x="11068815" y="2939671"/>
              <a:ext cx="295965" cy="295963"/>
            </a:xfrm>
            <a:custGeom>
              <a:avLst/>
              <a:gdLst>
                <a:gd name="connsiteX0" fmla="*/ 295436 w 295965"/>
                <a:gd name="connsiteY0" fmla="*/ 66951 h 295963"/>
                <a:gd name="connsiteX1" fmla="*/ 289003 w 295965"/>
                <a:gd name="connsiteY1" fmla="*/ 62655 h 295963"/>
                <a:gd name="connsiteX2" fmla="*/ 233308 w 295965"/>
                <a:gd name="connsiteY2" fmla="*/ 62655 h 295963"/>
                <a:gd name="connsiteX3" fmla="*/ 233308 w 295965"/>
                <a:gd name="connsiteY3" fmla="*/ 6960 h 295963"/>
                <a:gd name="connsiteX4" fmla="*/ 226345 w 295965"/>
                <a:gd name="connsiteY4" fmla="*/ 0 h 295963"/>
                <a:gd name="connsiteX5" fmla="*/ 221424 w 295965"/>
                <a:gd name="connsiteY5" fmla="*/ 2038 h 295963"/>
                <a:gd name="connsiteX6" fmla="*/ 158767 w 295965"/>
                <a:gd name="connsiteY6" fmla="*/ 64695 h 295963"/>
                <a:gd name="connsiteX7" fmla="*/ 156728 w 295965"/>
                <a:gd name="connsiteY7" fmla="*/ 69617 h 295963"/>
                <a:gd name="connsiteX8" fmla="*/ 156728 w 295965"/>
                <a:gd name="connsiteY8" fmla="*/ 129392 h 295963"/>
                <a:gd name="connsiteX9" fmla="*/ 2126 w 295965"/>
                <a:gd name="connsiteY9" fmla="*/ 283993 h 295963"/>
                <a:gd name="connsiteX10" fmla="*/ 1954 w 295965"/>
                <a:gd name="connsiteY10" fmla="*/ 293838 h 295963"/>
                <a:gd name="connsiteX11" fmla="*/ 11798 w 295965"/>
                <a:gd name="connsiteY11" fmla="*/ 294009 h 295963"/>
                <a:gd name="connsiteX12" fmla="*/ 11970 w 295965"/>
                <a:gd name="connsiteY12" fmla="*/ 293838 h 295963"/>
                <a:gd name="connsiteX13" fmla="*/ 166572 w 295965"/>
                <a:gd name="connsiteY13" fmla="*/ 139236 h 295963"/>
                <a:gd name="connsiteX14" fmla="*/ 226346 w 295965"/>
                <a:gd name="connsiteY14" fmla="*/ 139236 h 295963"/>
                <a:gd name="connsiteX15" fmla="*/ 231268 w 295965"/>
                <a:gd name="connsiteY15" fmla="*/ 137196 h 295963"/>
                <a:gd name="connsiteX16" fmla="*/ 293925 w 295965"/>
                <a:gd name="connsiteY16" fmla="*/ 74539 h 295963"/>
                <a:gd name="connsiteX17" fmla="*/ 295436 w 295965"/>
                <a:gd name="connsiteY17" fmla="*/ 66951 h 295963"/>
                <a:gd name="connsiteX18" fmla="*/ 170651 w 295965"/>
                <a:gd name="connsiteY18" fmla="*/ 72499 h 295963"/>
                <a:gd name="connsiteX19" fmla="*/ 219266 w 295965"/>
                <a:gd name="connsiteY19" fmla="*/ 23885 h 295963"/>
                <a:gd name="connsiteX20" fmla="*/ 219384 w 295965"/>
                <a:gd name="connsiteY20" fmla="*/ 23933 h 295963"/>
                <a:gd name="connsiteX21" fmla="*/ 219384 w 295965"/>
                <a:gd name="connsiteY21" fmla="*/ 66735 h 295963"/>
                <a:gd name="connsiteX22" fmla="*/ 170651 w 295965"/>
                <a:gd name="connsiteY22" fmla="*/ 115468 h 295963"/>
                <a:gd name="connsiteX23" fmla="*/ 223464 w 295965"/>
                <a:gd name="connsiteY23" fmla="*/ 125312 h 295963"/>
                <a:gd name="connsiteX24" fmla="*/ 180495 w 295965"/>
                <a:gd name="connsiteY24" fmla="*/ 125312 h 295963"/>
                <a:gd name="connsiteX25" fmla="*/ 229228 w 295965"/>
                <a:gd name="connsiteY25" fmla="*/ 76579 h 295963"/>
                <a:gd name="connsiteX26" fmla="*/ 272030 w 295965"/>
                <a:gd name="connsiteY26" fmla="*/ 76579 h 295963"/>
                <a:gd name="connsiteX27" fmla="*/ 272079 w 295965"/>
                <a:gd name="connsiteY27" fmla="*/ 76697 h 29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95965" h="295963">
                  <a:moveTo>
                    <a:pt x="295436" y="66951"/>
                  </a:moveTo>
                  <a:cubicBezTo>
                    <a:pt x="294357" y="64350"/>
                    <a:pt x="291818" y="62655"/>
                    <a:pt x="289003" y="62655"/>
                  </a:cubicBezTo>
                  <a:lnTo>
                    <a:pt x="233308" y="62655"/>
                  </a:lnTo>
                  <a:lnTo>
                    <a:pt x="233308" y="6960"/>
                  </a:lnTo>
                  <a:cubicBezTo>
                    <a:pt x="233307" y="3115"/>
                    <a:pt x="230190" y="-1"/>
                    <a:pt x="226345" y="0"/>
                  </a:cubicBezTo>
                  <a:cubicBezTo>
                    <a:pt x="224499" y="0"/>
                    <a:pt x="222729" y="734"/>
                    <a:pt x="221424" y="2038"/>
                  </a:cubicBezTo>
                  <a:lnTo>
                    <a:pt x="158767" y="64695"/>
                  </a:lnTo>
                  <a:cubicBezTo>
                    <a:pt x="157462" y="66000"/>
                    <a:pt x="156728" y="67771"/>
                    <a:pt x="156728" y="69617"/>
                  </a:cubicBezTo>
                  <a:lnTo>
                    <a:pt x="156728" y="129392"/>
                  </a:lnTo>
                  <a:lnTo>
                    <a:pt x="2126" y="283993"/>
                  </a:lnTo>
                  <a:cubicBezTo>
                    <a:pt x="-640" y="286665"/>
                    <a:pt x="-717" y="291072"/>
                    <a:pt x="1954" y="293838"/>
                  </a:cubicBezTo>
                  <a:cubicBezTo>
                    <a:pt x="4626" y="296603"/>
                    <a:pt x="9033" y="296680"/>
                    <a:pt x="11798" y="294009"/>
                  </a:cubicBezTo>
                  <a:cubicBezTo>
                    <a:pt x="11857" y="293952"/>
                    <a:pt x="11914" y="293895"/>
                    <a:pt x="11970" y="293838"/>
                  </a:cubicBezTo>
                  <a:lnTo>
                    <a:pt x="166572" y="139236"/>
                  </a:lnTo>
                  <a:lnTo>
                    <a:pt x="226346" y="139236"/>
                  </a:lnTo>
                  <a:cubicBezTo>
                    <a:pt x="228192" y="139235"/>
                    <a:pt x="229963" y="138502"/>
                    <a:pt x="231268" y="137196"/>
                  </a:cubicBezTo>
                  <a:lnTo>
                    <a:pt x="293925" y="74539"/>
                  </a:lnTo>
                  <a:cubicBezTo>
                    <a:pt x="295917" y="72548"/>
                    <a:pt x="296513" y="69553"/>
                    <a:pt x="295436" y="66951"/>
                  </a:cubicBezTo>
                  <a:close/>
                  <a:moveTo>
                    <a:pt x="170651" y="72499"/>
                  </a:moveTo>
                  <a:lnTo>
                    <a:pt x="219266" y="23885"/>
                  </a:lnTo>
                  <a:cubicBezTo>
                    <a:pt x="219329" y="23822"/>
                    <a:pt x="219384" y="23843"/>
                    <a:pt x="219384" y="23933"/>
                  </a:cubicBezTo>
                  <a:lnTo>
                    <a:pt x="219384" y="66735"/>
                  </a:lnTo>
                  <a:lnTo>
                    <a:pt x="170651" y="115468"/>
                  </a:lnTo>
                  <a:close/>
                  <a:moveTo>
                    <a:pt x="223464" y="125312"/>
                  </a:moveTo>
                  <a:lnTo>
                    <a:pt x="180495" y="125312"/>
                  </a:lnTo>
                  <a:lnTo>
                    <a:pt x="229228" y="76579"/>
                  </a:lnTo>
                  <a:lnTo>
                    <a:pt x="272030" y="76579"/>
                  </a:lnTo>
                  <a:cubicBezTo>
                    <a:pt x="272120" y="76579"/>
                    <a:pt x="272141" y="76635"/>
                    <a:pt x="272079" y="76697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5FE40375-04DC-E9BB-7996-FACBD0B2B05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9563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process, circle, flow, flows, goal, goals</a:t>
            </a:r>
          </a:p>
        </p:txBody>
      </p:sp>
    </p:spTree>
    <p:extLst>
      <p:ext uri="{BB962C8B-B14F-4D97-AF65-F5344CB8AC3E}">
        <p14:creationId xmlns:p14="http://schemas.microsoft.com/office/powerpoint/2010/main" val="20802727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7iK2CRTwtAtLvLdgaO4J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7iK2CRTwtAtLvLdgaO4JEDRGF0YQAWAAAAAlBlcnNvbmFsSWQAAQAAAAAAAk5hbWUACwAAAFBlcnNvbmFsSWQAEFZlcnNpb24AAAAAAAlMYXN0V3JpdGUAXs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671477"/>
  <p:tag name="EMPOWERCHARTSPROPERTIES_A_LENGTH" val="24576"/>
  <p:tag name="RUNTIME_ID" val="faa726c7-631e-43ef-b3f8-c4f8f8e5c0e3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bNfYWtlhlAlnMHCWrEx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bNfYWtlhlAlnMHCWrExugDRGF0YQAWAAAAAlBlcnNvbmFsSWQAAQAAAAAAAk5hbWUACwAAAFBlcnNvbmFsSWQAEFZlcnNpb24AAAAAAAlMYXN0V3JpdGUAnc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5089655"/>
  <p:tag name="EMPOWERCHARTSPROPERTIES_A_LENGTH" val="24576"/>
  <p:tag name="RUNTIME_ID" val="93991fd0-4e9a-4f7d-8920-7a20513d572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LqDduOl7JOpoCaO7lBX7g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LqDduOl7JOpoCaO7lBX7gDRGF0YQAWAAAAAlBlcnNvbmFsSWQAAQAAAAAAAk5hbWUACwAAAFBlcnNvbmFsSWQAEFZlcnNpb24AAAAAAAlMYXN0V3JpdGUAzM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5559407"/>
  <p:tag name="EMPOWERCHARTSPROPERTIES_A_LENGTH" val="24576"/>
  <p:tag name="RUNTIME_ID" val="28dab359-caea-4460-b42d-ccf16ffb4b4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6xEE0kZFZHnkS4eGdXVL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6xEE0kZFZHnkS4eGdXVLMDRGF0YQAWAAAAAlBlcnNvbmFsSWQAAQAAAAAAAk5hbWUACwAAAFBlcnNvbmFsSWQAEFZlcnNpb24AAAAAAAlMYXN0V3JpdGUAUew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624103905"/>
  <p:tag name="EMPOWERCHARTSPROPERTIES_A_LENGTH" val="24576"/>
  <p:tag name="RUNTIME_ID" val="2f727b5c-fad8-4941-819b-1275fa61339f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6pxzB47LQtPnOicFAMeyVk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pxzB47LQtPnOicFAMeyVkDRGF0YQAWAAAAAlBlcnNvbmFsSWQAAQAAAAAAAk5hbWUACwAAAFBlcnNvbmFsSWQAEFZlcnNpb24AAAAAAAlMYXN0V3JpdGUAmew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624729692"/>
  <p:tag name="EMPOWERCHARTSPROPERTIES_A_LENGTH" val="24576"/>
  <p:tag name="RUNTIME_ID" val="a193679d-fbbd-4bde-98c4-f685787de079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6vopfCmX9AuI4AAxlT08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6vopfCmX9AuI4AAxlT08wDRGF0YQAWAAAAAlBlcnNvbmFsSWQAAQAAAAAAAk5hbWUACwAAAFBlcnNvbmFsSWQAEFZlcnNpb24AAAAAAAlMYXN0V3JpdGUAuew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625360947"/>
  <p:tag name="EMPOWERCHARTSPROPERTIES_A_LENGTH" val="24576"/>
  <p:tag name="RUNTIME_ID" val="375f2809-d999-4d70-ab0c-21fdde98e9a5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y6lh4eqRMdBjtTdSkgwghc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6lh4eqRMdBjtTdSkgwghcDRGF0YQAWAAAAAlBlcnNvbmFsSWQAAQAAAAAAAk5hbWUACwAAAFBlcnNvbmFsSWQAEFZlcnNpb24AAAAAAAlMYXN0V3JpdGUAB+0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625986580"/>
  <p:tag name="EMPOWERCHARTSPROPERTIES_A_LENGTH" val="24576"/>
  <p:tag name="RUNTIME_ID" val="40d23dd7-cb95-4229-9f57-705c313ba02c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